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708" r:id="rId3"/>
  </p:sldMasterIdLst>
  <p:notesMasterIdLst>
    <p:notesMasterId r:id="rId26"/>
  </p:notesMasterIdLst>
  <p:sldIdLst>
    <p:sldId id="392" r:id="rId4"/>
    <p:sldId id="394" r:id="rId5"/>
    <p:sldId id="416" r:id="rId6"/>
    <p:sldId id="396" r:id="rId7"/>
    <p:sldId id="397" r:id="rId8"/>
    <p:sldId id="398" r:id="rId9"/>
    <p:sldId id="400" r:id="rId10"/>
    <p:sldId id="405" r:id="rId11"/>
    <p:sldId id="401" r:id="rId12"/>
    <p:sldId id="403" r:id="rId13"/>
    <p:sldId id="413" r:id="rId14"/>
    <p:sldId id="414" r:id="rId15"/>
    <p:sldId id="406" r:id="rId16"/>
    <p:sldId id="404" r:id="rId17"/>
    <p:sldId id="407" r:id="rId18"/>
    <p:sldId id="408" r:id="rId19"/>
    <p:sldId id="415" r:id="rId20"/>
    <p:sldId id="409" r:id="rId21"/>
    <p:sldId id="411" r:id="rId22"/>
    <p:sldId id="412" r:id="rId23"/>
    <p:sldId id="417" r:id="rId24"/>
    <p:sldId id="391" r:id="rId25"/>
  </p:sldIdLst>
  <p:sldSz cx="9144000" cy="6858000" type="screen4x3"/>
  <p:notesSz cx="6858000" cy="9144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5A8D"/>
    <a:srgbClr val="FF0000"/>
    <a:srgbClr val="FF6A47"/>
    <a:srgbClr val="33339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73" autoAdjust="0"/>
    <p:restoredTop sz="89703" autoAdjust="0"/>
  </p:normalViewPr>
  <p:slideViewPr>
    <p:cSldViewPr showGuides="1">
      <p:cViewPr>
        <p:scale>
          <a:sx n="91" d="100"/>
          <a:sy n="91" d="100"/>
        </p:scale>
        <p:origin x="-108" y="-27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076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g"/><Relationship Id="rId1" Type="http://schemas.openxmlformats.org/officeDocument/2006/relationships/image" Target="../media/image33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g"/><Relationship Id="rId1" Type="http://schemas.openxmlformats.org/officeDocument/2006/relationships/image" Target="../media/image33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AC745E-6ECE-4A6F-8A87-1A7869D87ECF}" type="doc">
      <dgm:prSet loTypeId="urn:microsoft.com/office/officeart/2011/layout/Radial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BE"/>
        </a:p>
      </dgm:t>
    </dgm:pt>
    <dgm:pt modelId="{C16F8A9B-918E-407D-A54C-9992BC1E3C33}">
      <dgm:prSet phldrT="[Texte]"/>
      <dgm:spPr/>
      <dgm:t>
        <a:bodyPr/>
        <a:lstStyle/>
        <a:p>
          <a:r>
            <a:rPr lang="fr-BE" dirty="0" smtClean="0"/>
            <a:t>Transition</a:t>
          </a:r>
        </a:p>
        <a:p>
          <a:r>
            <a:rPr lang="fr-BE" dirty="0" smtClean="0"/>
            <a:t>bas-carbone</a:t>
          </a:r>
          <a:endParaRPr lang="fr-BE" dirty="0"/>
        </a:p>
      </dgm:t>
    </dgm:pt>
    <dgm:pt modelId="{773F2FA7-FF4E-4AAE-B0F0-22977D557F85}" type="parTrans" cxnId="{872BE908-2873-42CF-9A80-6C319412EF7E}">
      <dgm:prSet/>
      <dgm:spPr/>
      <dgm:t>
        <a:bodyPr/>
        <a:lstStyle/>
        <a:p>
          <a:endParaRPr lang="fr-BE"/>
        </a:p>
      </dgm:t>
    </dgm:pt>
    <dgm:pt modelId="{F2B8ACEC-94A1-4C6F-8FBC-5D627ACC2573}" type="sibTrans" cxnId="{872BE908-2873-42CF-9A80-6C319412EF7E}">
      <dgm:prSet/>
      <dgm:spPr/>
      <dgm:t>
        <a:bodyPr/>
        <a:lstStyle/>
        <a:p>
          <a:endParaRPr lang="fr-BE"/>
        </a:p>
      </dgm:t>
    </dgm:pt>
    <dgm:pt modelId="{5BD9188F-7E98-4D0E-B97D-41690139FEB4}">
      <dgm:prSet phldrT="[Texte]" custT="1"/>
      <dgm:spPr/>
      <dgm:t>
        <a:bodyPr/>
        <a:lstStyle/>
        <a:p>
          <a:r>
            <a:rPr lang="fr-BE" sz="1500" b="1" dirty="0" smtClean="0">
              <a:solidFill>
                <a:srgbClr val="FF0000"/>
              </a:solidFill>
            </a:rPr>
            <a:t>Mutation du système énergétique mondial </a:t>
          </a:r>
          <a:r>
            <a:rPr lang="fr-BE" sz="1500" dirty="0" smtClean="0"/>
            <a:t>(reco</a:t>
          </a:r>
          <a:r>
            <a:rPr lang="fr-BE" sz="1500" b="0" dirty="0" smtClean="0">
              <a:solidFill>
                <a:schemeClr val="tx1"/>
              </a:solidFill>
            </a:rPr>
            <a:t>urs systématique aux technologies bas-carbone, efficacité énergétique dans tous les secteurs, électrification, mutation des systèmes de transport)</a:t>
          </a:r>
        </a:p>
      </dgm:t>
    </dgm:pt>
    <dgm:pt modelId="{FBEF9143-625A-402D-BCB9-83D54BA35228}" type="parTrans" cxnId="{EE113BA1-763A-4A56-8BC3-98BC6387B913}">
      <dgm:prSet/>
      <dgm:spPr/>
      <dgm:t>
        <a:bodyPr/>
        <a:lstStyle/>
        <a:p>
          <a:endParaRPr lang="fr-BE"/>
        </a:p>
      </dgm:t>
    </dgm:pt>
    <dgm:pt modelId="{0501B717-C1F9-4954-B0C1-21E808D8452F}" type="sibTrans" cxnId="{EE113BA1-763A-4A56-8BC3-98BC6387B913}">
      <dgm:prSet/>
      <dgm:spPr/>
      <dgm:t>
        <a:bodyPr/>
        <a:lstStyle/>
        <a:p>
          <a:endParaRPr lang="fr-BE"/>
        </a:p>
      </dgm:t>
    </dgm:pt>
    <dgm:pt modelId="{945882AA-571C-4C5E-B07B-A03A72136D13}">
      <dgm:prSet phldrT="[Texte]"/>
      <dgm:spPr/>
      <dgm:t>
        <a:bodyPr/>
        <a:lstStyle/>
        <a:p>
          <a:r>
            <a:rPr lang="fr-BE" dirty="0" smtClean="0"/>
            <a:t>Modes de </a:t>
          </a:r>
          <a:r>
            <a:rPr lang="fr-BE" b="1" dirty="0" smtClean="0">
              <a:solidFill>
                <a:srgbClr val="FF0000"/>
              </a:solidFill>
            </a:rPr>
            <a:t>production et de consommation durable</a:t>
          </a:r>
          <a:r>
            <a:rPr lang="fr-BE" dirty="0" smtClean="0"/>
            <a:t> (sobriété dans l’utilisation des ressources non-renouvelables)</a:t>
          </a:r>
          <a:endParaRPr lang="fr-BE" dirty="0"/>
        </a:p>
      </dgm:t>
    </dgm:pt>
    <dgm:pt modelId="{B466BB20-9139-4CBB-BA20-4A3440F987AD}" type="parTrans" cxnId="{97362940-0148-4E78-88DB-0C81C4AD0997}">
      <dgm:prSet/>
      <dgm:spPr/>
      <dgm:t>
        <a:bodyPr/>
        <a:lstStyle/>
        <a:p>
          <a:endParaRPr lang="fr-BE"/>
        </a:p>
      </dgm:t>
    </dgm:pt>
    <dgm:pt modelId="{E55D1C81-933B-4C5D-A9C6-B5F51C50CB5E}" type="sibTrans" cxnId="{97362940-0148-4E78-88DB-0C81C4AD0997}">
      <dgm:prSet/>
      <dgm:spPr/>
      <dgm:t>
        <a:bodyPr/>
        <a:lstStyle/>
        <a:p>
          <a:endParaRPr lang="fr-BE"/>
        </a:p>
      </dgm:t>
    </dgm:pt>
    <dgm:pt modelId="{6668CEF6-8EDC-4179-95DE-4DCA1C46D66E}">
      <dgm:prSet phldrT="[Texte]"/>
      <dgm:spPr/>
      <dgm:t>
        <a:bodyPr/>
        <a:lstStyle/>
        <a:p>
          <a:r>
            <a:rPr lang="fr-BE" dirty="0" smtClean="0"/>
            <a:t>Utilisation durable du sol (</a:t>
          </a:r>
          <a:r>
            <a:rPr lang="fr-BE" b="1" dirty="0" err="1" smtClean="0">
              <a:solidFill>
                <a:srgbClr val="FF0000"/>
              </a:solidFill>
            </a:rPr>
            <a:t>agroécologie</a:t>
          </a:r>
          <a:r>
            <a:rPr lang="fr-BE" dirty="0" smtClean="0"/>
            <a:t>, </a:t>
          </a:r>
          <a:r>
            <a:rPr lang="fr-BE" b="1" dirty="0" smtClean="0">
              <a:solidFill>
                <a:srgbClr val="FF0000"/>
              </a:solidFill>
            </a:rPr>
            <a:t>arrêt de la déforestation</a:t>
          </a:r>
          <a:r>
            <a:rPr lang="fr-BE" dirty="0" smtClean="0"/>
            <a:t>) et </a:t>
          </a:r>
          <a:r>
            <a:rPr lang="fr-BE" b="1" dirty="0" smtClean="0">
              <a:solidFill>
                <a:srgbClr val="FF0000"/>
              </a:solidFill>
            </a:rPr>
            <a:t>urbanisation durable</a:t>
          </a:r>
          <a:endParaRPr lang="fr-BE" b="1" dirty="0">
            <a:solidFill>
              <a:srgbClr val="FF0000"/>
            </a:solidFill>
          </a:endParaRPr>
        </a:p>
      </dgm:t>
    </dgm:pt>
    <dgm:pt modelId="{8D472251-B4AF-4A3A-AD1F-A5AF9B7EDE93}" type="parTrans" cxnId="{0FC05A69-E20E-4441-A19A-064BAFA52B2B}">
      <dgm:prSet/>
      <dgm:spPr/>
      <dgm:t>
        <a:bodyPr/>
        <a:lstStyle/>
        <a:p>
          <a:endParaRPr lang="fr-BE"/>
        </a:p>
      </dgm:t>
    </dgm:pt>
    <dgm:pt modelId="{668FD672-FE97-4B4B-BB18-DEE750050A6E}" type="sibTrans" cxnId="{0FC05A69-E20E-4441-A19A-064BAFA52B2B}">
      <dgm:prSet/>
      <dgm:spPr/>
      <dgm:t>
        <a:bodyPr/>
        <a:lstStyle/>
        <a:p>
          <a:endParaRPr lang="fr-BE"/>
        </a:p>
      </dgm:t>
    </dgm:pt>
    <dgm:pt modelId="{535948EB-DF50-4749-81C9-88D4808D193F}" type="pres">
      <dgm:prSet presAssocID="{E9AC745E-6ECE-4A6F-8A87-1A7869D87ECF}" presName="Name0" presStyleCnt="0">
        <dgm:presLayoutVars>
          <dgm:chMax val="1"/>
          <dgm:chPref val="1"/>
          <dgm:dir/>
          <dgm:resizeHandles/>
        </dgm:presLayoutVars>
      </dgm:prSet>
      <dgm:spPr/>
      <dgm:t>
        <a:bodyPr/>
        <a:lstStyle/>
        <a:p>
          <a:endParaRPr lang="fr-BE"/>
        </a:p>
      </dgm:t>
    </dgm:pt>
    <dgm:pt modelId="{22E588C7-74F5-41BB-9556-20ED2C3CDDF2}" type="pres">
      <dgm:prSet presAssocID="{C16F8A9B-918E-407D-A54C-9992BC1E3C33}" presName="Parent" presStyleLbl="node1" presStyleIdx="0" presStyleCnt="2">
        <dgm:presLayoutVars>
          <dgm:chMax val="4"/>
          <dgm:chPref val="3"/>
        </dgm:presLayoutVars>
      </dgm:prSet>
      <dgm:spPr/>
      <dgm:t>
        <a:bodyPr/>
        <a:lstStyle/>
        <a:p>
          <a:endParaRPr lang="fr-BE"/>
        </a:p>
      </dgm:t>
    </dgm:pt>
    <dgm:pt modelId="{8E6BE343-FF2B-4773-AEED-8B97DD99706E}" type="pres">
      <dgm:prSet presAssocID="{5BD9188F-7E98-4D0E-B97D-41690139FEB4}" presName="Accent" presStyleLbl="node1" presStyleIdx="1" presStyleCnt="2"/>
      <dgm:spPr/>
    </dgm:pt>
    <dgm:pt modelId="{51982A5B-B845-4BB4-9853-A64ED6EB8648}" type="pres">
      <dgm:prSet presAssocID="{5BD9188F-7E98-4D0E-B97D-41690139FEB4}" presName="Image1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</dgm:spPr>
    </dgm:pt>
    <dgm:pt modelId="{D405659F-9898-4DD3-A581-37F3843307D6}" type="pres">
      <dgm:prSet presAssocID="{5BD9188F-7E98-4D0E-B97D-41690139FEB4}" presName="Child1" presStyleLbl="revTx" presStyleIdx="0" presStyleCnt="3" custScaleX="125748" custLinFactNeighborX="15041" custLinFactNeighborY="-652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91C5680E-6A78-47A2-B8B3-452ECD94A0AF}" type="pres">
      <dgm:prSet presAssocID="{945882AA-571C-4C5E-B07B-A03A72136D13}" presName="Image2" presStyleCnt="0"/>
      <dgm:spPr/>
    </dgm:pt>
    <dgm:pt modelId="{81CC1DCE-C43C-425C-835F-425F4D587F6D}" type="pres">
      <dgm:prSet presAssocID="{945882AA-571C-4C5E-B07B-A03A72136D13}" presName="Image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0DD7F21D-C789-481D-883A-4307B93BA3C4}" type="pres">
      <dgm:prSet presAssocID="{945882AA-571C-4C5E-B07B-A03A72136D13}" presName="Child2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4587CB4-EB0A-4CEE-89D4-E79AE76E4E73}" type="pres">
      <dgm:prSet presAssocID="{6668CEF6-8EDC-4179-95DE-4DCA1C46D66E}" presName="Image3" presStyleCnt="0"/>
      <dgm:spPr/>
    </dgm:pt>
    <dgm:pt modelId="{6BB7DF3E-A4DA-43D4-8572-C38BBD9623E2}" type="pres">
      <dgm:prSet presAssocID="{6668CEF6-8EDC-4179-95DE-4DCA1C46D66E}" presName="Image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EDB4B146-DDFC-4F58-ADD4-9A4F54954EFF}" type="pres">
      <dgm:prSet presAssocID="{6668CEF6-8EDC-4179-95DE-4DCA1C46D66E}" presName="Child3" presStyleLbl="revTx" presStyleIdx="2" presStyleCnt="3" custLinFactNeighborX="1029" custLinFactNeighborY="28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BE"/>
        </a:p>
      </dgm:t>
    </dgm:pt>
  </dgm:ptLst>
  <dgm:cxnLst>
    <dgm:cxn modelId="{FCC9F8D3-9070-4EB4-BA95-E3B7BFD94AD6}" type="presOf" srcId="{5BD9188F-7E98-4D0E-B97D-41690139FEB4}" destId="{D405659F-9898-4DD3-A581-37F3843307D6}" srcOrd="0" destOrd="0" presId="urn:microsoft.com/office/officeart/2011/layout/RadialPictureList"/>
    <dgm:cxn modelId="{872BE908-2873-42CF-9A80-6C319412EF7E}" srcId="{E9AC745E-6ECE-4A6F-8A87-1A7869D87ECF}" destId="{C16F8A9B-918E-407D-A54C-9992BC1E3C33}" srcOrd="0" destOrd="0" parTransId="{773F2FA7-FF4E-4AAE-B0F0-22977D557F85}" sibTransId="{F2B8ACEC-94A1-4C6F-8FBC-5D627ACC2573}"/>
    <dgm:cxn modelId="{EE113BA1-763A-4A56-8BC3-98BC6387B913}" srcId="{C16F8A9B-918E-407D-A54C-9992BC1E3C33}" destId="{5BD9188F-7E98-4D0E-B97D-41690139FEB4}" srcOrd="0" destOrd="0" parTransId="{FBEF9143-625A-402D-BCB9-83D54BA35228}" sibTransId="{0501B717-C1F9-4954-B0C1-21E808D8452F}"/>
    <dgm:cxn modelId="{AF96C584-A85A-44D3-BE24-8B1FCD563F3D}" type="presOf" srcId="{C16F8A9B-918E-407D-A54C-9992BC1E3C33}" destId="{22E588C7-74F5-41BB-9556-20ED2C3CDDF2}" srcOrd="0" destOrd="0" presId="urn:microsoft.com/office/officeart/2011/layout/RadialPictureList"/>
    <dgm:cxn modelId="{0FC05A69-E20E-4441-A19A-064BAFA52B2B}" srcId="{C16F8A9B-918E-407D-A54C-9992BC1E3C33}" destId="{6668CEF6-8EDC-4179-95DE-4DCA1C46D66E}" srcOrd="2" destOrd="0" parTransId="{8D472251-B4AF-4A3A-AD1F-A5AF9B7EDE93}" sibTransId="{668FD672-FE97-4B4B-BB18-DEE750050A6E}"/>
    <dgm:cxn modelId="{DCACD6E7-CC35-44BA-86FE-D632AB620F37}" type="presOf" srcId="{6668CEF6-8EDC-4179-95DE-4DCA1C46D66E}" destId="{EDB4B146-DDFC-4F58-ADD4-9A4F54954EFF}" srcOrd="0" destOrd="0" presId="urn:microsoft.com/office/officeart/2011/layout/RadialPictureList"/>
    <dgm:cxn modelId="{97362940-0148-4E78-88DB-0C81C4AD0997}" srcId="{C16F8A9B-918E-407D-A54C-9992BC1E3C33}" destId="{945882AA-571C-4C5E-B07B-A03A72136D13}" srcOrd="1" destOrd="0" parTransId="{B466BB20-9139-4CBB-BA20-4A3440F987AD}" sibTransId="{E55D1C81-933B-4C5D-A9C6-B5F51C50CB5E}"/>
    <dgm:cxn modelId="{B2EA49EC-8C70-4671-BEC5-1E25DDF25B68}" type="presOf" srcId="{945882AA-571C-4C5E-B07B-A03A72136D13}" destId="{0DD7F21D-C789-481D-883A-4307B93BA3C4}" srcOrd="0" destOrd="0" presId="urn:microsoft.com/office/officeart/2011/layout/RadialPictureList"/>
    <dgm:cxn modelId="{5BDAC0C0-B5B2-4C8C-A503-D5F9D8CF9825}" type="presOf" srcId="{E9AC745E-6ECE-4A6F-8A87-1A7869D87ECF}" destId="{535948EB-DF50-4749-81C9-88D4808D193F}" srcOrd="0" destOrd="0" presId="urn:microsoft.com/office/officeart/2011/layout/RadialPictureList"/>
    <dgm:cxn modelId="{41A17786-EC6D-4E91-AAA7-89892278EC7B}" type="presParOf" srcId="{535948EB-DF50-4749-81C9-88D4808D193F}" destId="{22E588C7-74F5-41BB-9556-20ED2C3CDDF2}" srcOrd="0" destOrd="0" presId="urn:microsoft.com/office/officeart/2011/layout/RadialPictureList"/>
    <dgm:cxn modelId="{00279C06-6018-49E8-861B-0BEF4CF9FF6F}" type="presParOf" srcId="{535948EB-DF50-4749-81C9-88D4808D193F}" destId="{8E6BE343-FF2B-4773-AEED-8B97DD99706E}" srcOrd="1" destOrd="0" presId="urn:microsoft.com/office/officeart/2011/layout/RadialPictureList"/>
    <dgm:cxn modelId="{AC95F9D6-3B76-4BA2-80C1-8CBB04ECC56E}" type="presParOf" srcId="{535948EB-DF50-4749-81C9-88D4808D193F}" destId="{51982A5B-B845-4BB4-9853-A64ED6EB8648}" srcOrd="2" destOrd="0" presId="urn:microsoft.com/office/officeart/2011/layout/RadialPictureList"/>
    <dgm:cxn modelId="{FEE6EBC7-6C59-4635-94CF-7067A6379048}" type="presParOf" srcId="{535948EB-DF50-4749-81C9-88D4808D193F}" destId="{D405659F-9898-4DD3-A581-37F3843307D6}" srcOrd="3" destOrd="0" presId="urn:microsoft.com/office/officeart/2011/layout/RadialPictureList"/>
    <dgm:cxn modelId="{3F0F32D3-1879-42AB-9E14-2082185CA475}" type="presParOf" srcId="{535948EB-DF50-4749-81C9-88D4808D193F}" destId="{91C5680E-6A78-47A2-B8B3-452ECD94A0AF}" srcOrd="4" destOrd="0" presId="urn:microsoft.com/office/officeart/2011/layout/RadialPictureList"/>
    <dgm:cxn modelId="{96EDB943-3704-4C46-8C1D-BBEBDEE52845}" type="presParOf" srcId="{91C5680E-6A78-47A2-B8B3-452ECD94A0AF}" destId="{81CC1DCE-C43C-425C-835F-425F4D587F6D}" srcOrd="0" destOrd="0" presId="urn:microsoft.com/office/officeart/2011/layout/RadialPictureList"/>
    <dgm:cxn modelId="{52EF8A2E-F727-408A-AC1C-300D662758BE}" type="presParOf" srcId="{535948EB-DF50-4749-81C9-88D4808D193F}" destId="{0DD7F21D-C789-481D-883A-4307B93BA3C4}" srcOrd="5" destOrd="0" presId="urn:microsoft.com/office/officeart/2011/layout/RadialPictureList"/>
    <dgm:cxn modelId="{3D1BEE70-BBC2-4B10-8D4E-945844C0195D}" type="presParOf" srcId="{535948EB-DF50-4749-81C9-88D4808D193F}" destId="{D4587CB4-EB0A-4CEE-89D4-E79AE76E4E73}" srcOrd="6" destOrd="0" presId="urn:microsoft.com/office/officeart/2011/layout/RadialPictureList"/>
    <dgm:cxn modelId="{81D22B8B-4CCA-4774-B92E-F2BAB7474897}" type="presParOf" srcId="{D4587CB4-EB0A-4CEE-89D4-E79AE76E4E73}" destId="{6BB7DF3E-A4DA-43D4-8572-C38BBD9623E2}" srcOrd="0" destOrd="0" presId="urn:microsoft.com/office/officeart/2011/layout/RadialPictureList"/>
    <dgm:cxn modelId="{C95DCEA3-1FE4-4771-826D-D3226C901BCE}" type="presParOf" srcId="{535948EB-DF50-4749-81C9-88D4808D193F}" destId="{EDB4B146-DDFC-4F58-ADD4-9A4F54954EFF}" srcOrd="7" destOrd="0" presId="urn:microsoft.com/office/officeart/2011/layout/RadialPictur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34DB942-4FDE-4437-8F19-DD1A44A9CD4F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BE"/>
        </a:p>
      </dgm:t>
    </dgm:pt>
    <dgm:pt modelId="{B59B1EE4-A1A3-4BD8-9519-77AD4104E50A}">
      <dgm:prSet phldrT="[Texte]" custT="1"/>
      <dgm:spPr/>
      <dgm:t>
        <a:bodyPr/>
        <a:lstStyle/>
        <a:p>
          <a:r>
            <a:rPr lang="fr-BE" sz="1800" b="1" u="none" dirty="0" smtClean="0"/>
            <a:t>New </a:t>
          </a:r>
          <a:r>
            <a:rPr lang="fr-BE" sz="1800" b="1" u="none" dirty="0" err="1" smtClean="0"/>
            <a:t>treaty</a:t>
          </a:r>
          <a:r>
            <a:rPr lang="fr-BE" sz="1800" b="1" u="none" dirty="0" smtClean="0"/>
            <a:t> (long </a:t>
          </a:r>
          <a:r>
            <a:rPr lang="fr-BE" sz="1800" b="1" u="none" dirty="0" err="1" smtClean="0"/>
            <a:t>term</a:t>
          </a:r>
          <a:r>
            <a:rPr lang="fr-BE" sz="1800" b="1" u="none" dirty="0" smtClean="0"/>
            <a:t> </a:t>
          </a:r>
          <a:r>
            <a:rPr lang="en-US" sz="1800" b="1" u="none" dirty="0" smtClean="0"/>
            <a:t>agreement)</a:t>
          </a:r>
          <a:endParaRPr lang="fr-BE" sz="1800" b="1" u="none" dirty="0"/>
        </a:p>
      </dgm:t>
    </dgm:pt>
    <dgm:pt modelId="{C7AF3B77-A947-4D44-843B-772130855554}" type="parTrans" cxnId="{4CD0AC47-DE88-49B3-A15C-69D26391D068}">
      <dgm:prSet/>
      <dgm:spPr/>
      <dgm:t>
        <a:bodyPr/>
        <a:lstStyle/>
        <a:p>
          <a:endParaRPr lang="fr-BE" sz="2800" u="none"/>
        </a:p>
      </dgm:t>
    </dgm:pt>
    <dgm:pt modelId="{E8A8DEC0-703A-49F5-8B50-71CC3030BCF3}" type="sibTrans" cxnId="{4CD0AC47-DE88-49B3-A15C-69D26391D068}">
      <dgm:prSet/>
      <dgm:spPr/>
      <dgm:t>
        <a:bodyPr/>
        <a:lstStyle/>
        <a:p>
          <a:endParaRPr lang="fr-BE" sz="2800" u="none"/>
        </a:p>
      </dgm:t>
    </dgm:pt>
    <dgm:pt modelId="{1178762F-E20D-40BC-B50D-C0A483F821AF}">
      <dgm:prSet phldrT="[Texte]" custT="1"/>
      <dgm:spPr/>
      <dgm:t>
        <a:bodyPr/>
        <a:lstStyle/>
        <a:p>
          <a:r>
            <a:rPr lang="fr-BE" sz="1800" b="1" u="none" dirty="0" err="1" smtClean="0"/>
            <a:t>Commitments</a:t>
          </a:r>
          <a:endParaRPr lang="fr-BE" sz="1800" b="1" u="none" dirty="0"/>
        </a:p>
      </dgm:t>
    </dgm:pt>
    <dgm:pt modelId="{26FCD3A2-93B0-42CF-9B34-58745C0B4D02}" type="parTrans" cxnId="{FDE3A753-4B0E-458A-8CE4-6EE864D8DBC9}">
      <dgm:prSet/>
      <dgm:spPr/>
      <dgm:t>
        <a:bodyPr/>
        <a:lstStyle/>
        <a:p>
          <a:endParaRPr lang="fr-BE" sz="2800" u="none"/>
        </a:p>
      </dgm:t>
    </dgm:pt>
    <dgm:pt modelId="{901F8E5B-49E8-4080-BC46-369E73CA8ECC}" type="sibTrans" cxnId="{FDE3A753-4B0E-458A-8CE4-6EE864D8DBC9}">
      <dgm:prSet/>
      <dgm:spPr/>
      <dgm:t>
        <a:bodyPr/>
        <a:lstStyle/>
        <a:p>
          <a:endParaRPr lang="fr-BE" sz="2800" u="none"/>
        </a:p>
      </dgm:t>
    </dgm:pt>
    <dgm:pt modelId="{A5CC09A8-E7BA-4597-A59B-49463CAB94AF}">
      <dgm:prSet phldrT="[Texte]" custT="1"/>
      <dgm:spPr/>
      <dgm:t>
        <a:bodyPr/>
        <a:lstStyle/>
        <a:p>
          <a:r>
            <a:rPr lang="fr-BE" sz="1800" b="1" u="none" dirty="0" smtClean="0"/>
            <a:t>Finance</a:t>
          </a:r>
          <a:endParaRPr lang="fr-BE" sz="1800" b="1" u="none" dirty="0"/>
        </a:p>
      </dgm:t>
    </dgm:pt>
    <dgm:pt modelId="{54522269-4702-4174-9B7A-436AC851B808}" type="parTrans" cxnId="{7968E947-E90A-4114-A24F-82ADAFAA227B}">
      <dgm:prSet/>
      <dgm:spPr/>
      <dgm:t>
        <a:bodyPr/>
        <a:lstStyle/>
        <a:p>
          <a:endParaRPr lang="fr-BE" sz="2800" u="none"/>
        </a:p>
      </dgm:t>
    </dgm:pt>
    <dgm:pt modelId="{E235B3DD-2629-4946-91A1-C37C3BE63189}" type="sibTrans" cxnId="{7968E947-E90A-4114-A24F-82ADAFAA227B}">
      <dgm:prSet/>
      <dgm:spPr/>
      <dgm:t>
        <a:bodyPr/>
        <a:lstStyle/>
        <a:p>
          <a:endParaRPr lang="fr-BE" sz="2800" u="none"/>
        </a:p>
      </dgm:t>
    </dgm:pt>
    <dgm:pt modelId="{1E3824F6-F251-47A8-9C03-030D52ED7464}">
      <dgm:prSet phldrT="[Texte]" custT="1"/>
      <dgm:spPr/>
      <dgm:t>
        <a:bodyPr/>
        <a:lstStyle/>
        <a:p>
          <a:r>
            <a:rPr lang="en-US" sz="1800" b="1" u="none" dirty="0" smtClean="0"/>
            <a:t>Lima-Paris Action Agenda</a:t>
          </a:r>
          <a:endParaRPr lang="fr-BE" sz="1800" b="1" u="none" dirty="0"/>
        </a:p>
      </dgm:t>
    </dgm:pt>
    <dgm:pt modelId="{B8731C4A-A229-46CC-9C35-56D372663091}" type="parTrans" cxnId="{DC67DE3F-9D25-43ED-AABA-DBB5542AF6F3}">
      <dgm:prSet/>
      <dgm:spPr/>
      <dgm:t>
        <a:bodyPr/>
        <a:lstStyle/>
        <a:p>
          <a:endParaRPr lang="fr-BE" sz="2800" u="none"/>
        </a:p>
      </dgm:t>
    </dgm:pt>
    <dgm:pt modelId="{4D7ACC14-094B-4802-B10E-4C926775F38B}" type="sibTrans" cxnId="{DC67DE3F-9D25-43ED-AABA-DBB5542AF6F3}">
      <dgm:prSet/>
      <dgm:spPr/>
      <dgm:t>
        <a:bodyPr/>
        <a:lstStyle/>
        <a:p>
          <a:endParaRPr lang="fr-BE" sz="2800" u="none"/>
        </a:p>
      </dgm:t>
    </dgm:pt>
    <dgm:pt modelId="{C817DBE7-D90A-4716-8AAF-C01D9586C358}">
      <dgm:prSet custT="1"/>
      <dgm:spPr/>
      <dgm:t>
        <a:bodyPr/>
        <a:lstStyle/>
        <a:p>
          <a:r>
            <a:rPr lang="nl-BE" sz="1600" u="none" dirty="0" smtClean="0"/>
            <a:t>Long term </a:t>
          </a:r>
          <a:r>
            <a:rPr lang="nl-BE" sz="1600" u="none" dirty="0" err="1" smtClean="0"/>
            <a:t>global</a:t>
          </a:r>
          <a:r>
            <a:rPr lang="nl-BE" sz="1600" u="none" dirty="0" smtClean="0"/>
            <a:t> goal </a:t>
          </a:r>
          <a:r>
            <a:rPr lang="nl-BE" sz="1600" b="0" u="none" dirty="0" smtClean="0"/>
            <a:t>(2°C </a:t>
          </a:r>
          <a:r>
            <a:rPr lang="nl-BE" sz="1600" b="0" u="none" dirty="0" smtClean="0">
              <a:sym typeface="Wingdings" pitchFamily="2" charset="2"/>
            </a:rPr>
            <a:t> </a:t>
          </a:r>
          <a:r>
            <a:rPr lang="nl-BE" sz="1600" b="0" u="none" dirty="0" err="1" smtClean="0">
              <a:sym typeface="Wingdings" pitchFamily="2" charset="2"/>
            </a:rPr>
            <a:t>d</a:t>
          </a:r>
          <a:r>
            <a:rPr lang="nl-BE" sz="1600" b="0" u="none" dirty="0" err="1" smtClean="0"/>
            <a:t>ecarbonisation</a:t>
          </a:r>
          <a:r>
            <a:rPr lang="nl-BE" sz="1600" b="0" u="none" dirty="0" smtClean="0"/>
            <a:t> </a:t>
          </a:r>
          <a:r>
            <a:rPr lang="nl-BE" sz="1600" b="0" u="none" dirty="0" err="1" smtClean="0"/>
            <a:t>by</a:t>
          </a:r>
          <a:r>
            <a:rPr lang="nl-BE" sz="1600" b="0" u="none" dirty="0" smtClean="0"/>
            <a:t> the end of the </a:t>
          </a:r>
          <a:r>
            <a:rPr lang="nl-BE" sz="1600" b="0" u="none" dirty="0" err="1" smtClean="0"/>
            <a:t>century</a:t>
          </a:r>
          <a:r>
            <a:rPr lang="nl-BE" sz="1600" b="0" u="none" dirty="0" smtClean="0"/>
            <a:t>)</a:t>
          </a:r>
        </a:p>
      </dgm:t>
    </dgm:pt>
    <dgm:pt modelId="{F2674327-F658-4E0B-839E-0D10B2EAB32A}" type="parTrans" cxnId="{B67B23F3-FA47-4C7A-9D64-0E878C04C3EC}">
      <dgm:prSet/>
      <dgm:spPr/>
      <dgm:t>
        <a:bodyPr/>
        <a:lstStyle/>
        <a:p>
          <a:endParaRPr lang="fr-BE" sz="2800" u="none"/>
        </a:p>
      </dgm:t>
    </dgm:pt>
    <dgm:pt modelId="{5B7783ED-8443-460B-ACF8-8D4D6ADCADAF}" type="sibTrans" cxnId="{B67B23F3-FA47-4C7A-9D64-0E878C04C3EC}">
      <dgm:prSet/>
      <dgm:spPr/>
      <dgm:t>
        <a:bodyPr/>
        <a:lstStyle/>
        <a:p>
          <a:endParaRPr lang="fr-BE" sz="2800" u="none"/>
        </a:p>
      </dgm:t>
    </dgm:pt>
    <dgm:pt modelId="{574B1B69-1F98-4FBD-9762-F06838039B96}">
      <dgm:prSet custT="1"/>
      <dgm:spPr/>
      <dgm:t>
        <a:bodyPr/>
        <a:lstStyle/>
        <a:p>
          <a:r>
            <a:rPr lang="en-US" sz="1600" b="0" u="none" dirty="0" smtClean="0"/>
            <a:t>Ambitious </a:t>
          </a:r>
          <a:r>
            <a:rPr lang="en-US" sz="1600" u="none" dirty="0" smtClean="0"/>
            <a:t>Intended Nationally Determined Contributions </a:t>
          </a:r>
          <a:r>
            <a:rPr lang="en-US" sz="1600" b="0" u="none" dirty="0" smtClean="0"/>
            <a:t>(INDCs)</a:t>
          </a:r>
          <a:endParaRPr lang="fr-BE" sz="1600" u="none" dirty="0"/>
        </a:p>
      </dgm:t>
    </dgm:pt>
    <dgm:pt modelId="{86C2CA9A-8DB3-4154-984E-AD938A9911F8}" type="parTrans" cxnId="{F2CCF878-B4CE-418E-83F1-FF1D6382A138}">
      <dgm:prSet/>
      <dgm:spPr/>
      <dgm:t>
        <a:bodyPr/>
        <a:lstStyle/>
        <a:p>
          <a:endParaRPr lang="fr-BE" sz="2800" u="none"/>
        </a:p>
      </dgm:t>
    </dgm:pt>
    <dgm:pt modelId="{6AC133D3-DBD8-4CD9-9C1A-DC5ADD3C549E}" type="sibTrans" cxnId="{F2CCF878-B4CE-418E-83F1-FF1D6382A138}">
      <dgm:prSet/>
      <dgm:spPr/>
      <dgm:t>
        <a:bodyPr/>
        <a:lstStyle/>
        <a:p>
          <a:endParaRPr lang="fr-BE" sz="2800" u="none"/>
        </a:p>
      </dgm:t>
    </dgm:pt>
    <dgm:pt modelId="{A6889874-29CE-4801-95A5-EBC558C472B7}">
      <dgm:prSet custT="1"/>
      <dgm:spPr/>
      <dgm:t>
        <a:bodyPr/>
        <a:lstStyle/>
        <a:p>
          <a:r>
            <a:rPr lang="en-US" sz="1600" u="none" dirty="0" smtClean="0"/>
            <a:t>Ambitious pledges (pre 2020 and long term)</a:t>
          </a:r>
          <a:endParaRPr lang="fr-BE" sz="1600" u="none" dirty="0"/>
        </a:p>
      </dgm:t>
    </dgm:pt>
    <dgm:pt modelId="{D84D4C67-F884-4880-AAD2-42F8E82C4ED0}" type="parTrans" cxnId="{A17EB541-8B4B-46F5-BF80-8B9A13280173}">
      <dgm:prSet/>
      <dgm:spPr/>
      <dgm:t>
        <a:bodyPr/>
        <a:lstStyle/>
        <a:p>
          <a:endParaRPr lang="fr-BE" sz="2800" u="none"/>
        </a:p>
      </dgm:t>
    </dgm:pt>
    <dgm:pt modelId="{C68EDBD9-0D85-4003-AD16-511ED82FE765}" type="sibTrans" cxnId="{A17EB541-8B4B-46F5-BF80-8B9A13280173}">
      <dgm:prSet/>
      <dgm:spPr/>
      <dgm:t>
        <a:bodyPr/>
        <a:lstStyle/>
        <a:p>
          <a:endParaRPr lang="fr-BE" sz="2800" u="none"/>
        </a:p>
      </dgm:t>
    </dgm:pt>
    <dgm:pt modelId="{EF298B66-9117-466C-8684-73D332288FCC}">
      <dgm:prSet custT="1"/>
      <dgm:spPr/>
      <dgm:t>
        <a:bodyPr/>
        <a:lstStyle/>
        <a:p>
          <a:r>
            <a:rPr lang="en-US" sz="1600" b="0" u="none" dirty="0" smtClean="0"/>
            <a:t>Public &amp; private innovative sources</a:t>
          </a:r>
          <a:endParaRPr lang="fr-BE" sz="1600" u="none" dirty="0"/>
        </a:p>
      </dgm:t>
    </dgm:pt>
    <dgm:pt modelId="{31CE378F-125D-41D4-98B9-74F0E9CC8538}" type="parTrans" cxnId="{844B093C-5026-44F5-B6D6-7F1B03EC2B14}">
      <dgm:prSet/>
      <dgm:spPr/>
      <dgm:t>
        <a:bodyPr/>
        <a:lstStyle/>
        <a:p>
          <a:endParaRPr lang="fr-BE" sz="2800" u="none"/>
        </a:p>
      </dgm:t>
    </dgm:pt>
    <dgm:pt modelId="{AE356B3E-7CEB-4CA2-B81F-7BCA1630ECC5}" type="sibTrans" cxnId="{844B093C-5026-44F5-B6D6-7F1B03EC2B14}">
      <dgm:prSet/>
      <dgm:spPr/>
      <dgm:t>
        <a:bodyPr/>
        <a:lstStyle/>
        <a:p>
          <a:endParaRPr lang="fr-BE" sz="2800" u="none"/>
        </a:p>
      </dgm:t>
    </dgm:pt>
    <dgm:pt modelId="{1C67F741-D580-4483-937E-FE5FDD9DBBD5}">
      <dgm:prSet custT="1"/>
      <dgm:spPr/>
      <dgm:t>
        <a:bodyPr/>
        <a:lstStyle/>
        <a:p>
          <a:r>
            <a:rPr lang="fr-BE" sz="1600" u="none" dirty="0" err="1" smtClean="0"/>
            <a:t>Redirect</a:t>
          </a:r>
          <a:r>
            <a:rPr lang="fr-BE" sz="1600" u="none" dirty="0" smtClean="0"/>
            <a:t> </a:t>
          </a:r>
          <a:r>
            <a:rPr lang="fr-BE" sz="1600" u="none" dirty="0" err="1" smtClean="0"/>
            <a:t>private</a:t>
          </a:r>
          <a:r>
            <a:rPr lang="fr-BE" sz="1600" u="none" dirty="0" smtClean="0"/>
            <a:t> </a:t>
          </a:r>
          <a:r>
            <a:rPr lang="fr-BE" sz="1600" u="none" dirty="0" err="1" smtClean="0"/>
            <a:t>investments</a:t>
          </a:r>
          <a:r>
            <a:rPr lang="fr-BE" sz="1600" u="none" dirty="0" smtClean="0"/>
            <a:t> </a:t>
          </a:r>
          <a:r>
            <a:rPr lang="fr-BE" sz="1600" u="none" dirty="0" err="1" smtClean="0"/>
            <a:t>towards</a:t>
          </a:r>
          <a:r>
            <a:rPr lang="fr-BE" sz="1600" u="none" dirty="0" smtClean="0"/>
            <a:t> </a:t>
          </a:r>
          <a:r>
            <a:rPr lang="fr-BE" sz="1600" u="none" dirty="0" err="1" smtClean="0"/>
            <a:t>low</a:t>
          </a:r>
          <a:r>
            <a:rPr lang="fr-BE" sz="1600" u="none" dirty="0" smtClean="0"/>
            <a:t> </a:t>
          </a:r>
          <a:r>
            <a:rPr lang="fr-BE" sz="1600" u="none" dirty="0" err="1" smtClean="0"/>
            <a:t>carbon</a:t>
          </a:r>
          <a:r>
            <a:rPr lang="fr-BE" sz="1600" u="none" dirty="0" smtClean="0"/>
            <a:t> </a:t>
          </a:r>
          <a:r>
            <a:rPr lang="fr-BE" sz="1600" u="none" dirty="0" err="1" smtClean="0"/>
            <a:t>activities</a:t>
          </a:r>
          <a:endParaRPr lang="fr-BE" sz="1600" u="none" dirty="0"/>
        </a:p>
      </dgm:t>
    </dgm:pt>
    <dgm:pt modelId="{C5F913F1-DF4D-4BB5-9172-E88E22EE437A}" type="parTrans" cxnId="{0B7F895F-D198-48A8-9815-F3E360AC65C3}">
      <dgm:prSet/>
      <dgm:spPr/>
      <dgm:t>
        <a:bodyPr/>
        <a:lstStyle/>
        <a:p>
          <a:endParaRPr lang="fr-BE" sz="2800" u="none"/>
        </a:p>
      </dgm:t>
    </dgm:pt>
    <dgm:pt modelId="{210FBDD7-6BCD-4248-A3B3-2A97C0A50095}" type="sibTrans" cxnId="{0B7F895F-D198-48A8-9815-F3E360AC65C3}">
      <dgm:prSet/>
      <dgm:spPr/>
      <dgm:t>
        <a:bodyPr/>
        <a:lstStyle/>
        <a:p>
          <a:endParaRPr lang="fr-BE" sz="2800" u="none"/>
        </a:p>
      </dgm:t>
    </dgm:pt>
    <dgm:pt modelId="{0F9B35C6-9514-45F6-B2C2-669863E0C92B}">
      <dgm:prSet phldrT="[Texte]" custT="1"/>
      <dgm:spPr/>
      <dgm:t>
        <a:bodyPr/>
        <a:lstStyle/>
        <a:p>
          <a:r>
            <a:rPr lang="en-US" sz="1600" u="none" dirty="0" smtClean="0"/>
            <a:t>Enhanced cooperation of </a:t>
          </a:r>
          <a:r>
            <a:rPr lang="en-US" sz="1600" b="0" u="none" dirty="0" smtClean="0"/>
            <a:t>state and non-state actors (cities and regions, business, public/private investors, international  institutions,…)</a:t>
          </a:r>
          <a:endParaRPr lang="fr-BE" sz="1600" u="none" dirty="0"/>
        </a:p>
      </dgm:t>
    </dgm:pt>
    <dgm:pt modelId="{836AA029-A7D4-4153-945D-58D0E1D9F424}" type="parTrans" cxnId="{EF2EDF9B-34D5-432C-9370-A4C82ED949C0}">
      <dgm:prSet/>
      <dgm:spPr/>
      <dgm:t>
        <a:bodyPr/>
        <a:lstStyle/>
        <a:p>
          <a:endParaRPr lang="fr-BE" sz="2800" u="none"/>
        </a:p>
      </dgm:t>
    </dgm:pt>
    <dgm:pt modelId="{E9003D49-B268-438C-97DC-BD157B3897DB}" type="sibTrans" cxnId="{EF2EDF9B-34D5-432C-9370-A4C82ED949C0}">
      <dgm:prSet/>
      <dgm:spPr/>
      <dgm:t>
        <a:bodyPr/>
        <a:lstStyle/>
        <a:p>
          <a:endParaRPr lang="fr-BE" sz="2800" u="none"/>
        </a:p>
      </dgm:t>
    </dgm:pt>
    <dgm:pt modelId="{CE5FCEC1-F013-405C-9EC3-9B1A762AA97C}">
      <dgm:prSet custT="1"/>
      <dgm:spPr/>
      <dgm:t>
        <a:bodyPr/>
        <a:lstStyle/>
        <a:p>
          <a:r>
            <a:rPr lang="nl-BE" sz="1600" u="none" dirty="0" err="1" smtClean="0"/>
            <a:t>Mitigation</a:t>
          </a:r>
          <a:r>
            <a:rPr lang="nl-BE" sz="1600" u="none" dirty="0" smtClean="0"/>
            <a:t> and </a:t>
          </a:r>
          <a:r>
            <a:rPr lang="nl-BE" sz="1600" u="none" dirty="0" err="1" smtClean="0"/>
            <a:t>adaptation</a:t>
          </a:r>
          <a:r>
            <a:rPr lang="nl-BE" sz="1600" u="none" dirty="0" smtClean="0"/>
            <a:t> at the </a:t>
          </a:r>
          <a:r>
            <a:rPr lang="nl-BE" sz="1600" u="none" dirty="0" err="1" smtClean="0"/>
            <a:t>core</a:t>
          </a:r>
          <a:r>
            <a:rPr lang="nl-BE" sz="1600" u="none" dirty="0" smtClean="0"/>
            <a:t> !</a:t>
          </a:r>
          <a:endParaRPr lang="nl-BE" sz="1600" b="0" u="none" dirty="0" smtClean="0"/>
        </a:p>
      </dgm:t>
    </dgm:pt>
    <dgm:pt modelId="{9DCEC811-E70E-4D7C-95E6-D8595511E768}" type="parTrans" cxnId="{4DAB9BC4-795E-4B73-8C3A-F9C129BA7ED0}">
      <dgm:prSet/>
      <dgm:spPr/>
      <dgm:t>
        <a:bodyPr/>
        <a:lstStyle/>
        <a:p>
          <a:endParaRPr lang="fr-BE" sz="2800" u="none"/>
        </a:p>
      </dgm:t>
    </dgm:pt>
    <dgm:pt modelId="{68DDBD98-6995-4EF1-BA36-FC5D526CE3A0}" type="sibTrans" cxnId="{4DAB9BC4-795E-4B73-8C3A-F9C129BA7ED0}">
      <dgm:prSet/>
      <dgm:spPr/>
      <dgm:t>
        <a:bodyPr/>
        <a:lstStyle/>
        <a:p>
          <a:endParaRPr lang="fr-BE" sz="2800" u="none"/>
        </a:p>
      </dgm:t>
    </dgm:pt>
    <dgm:pt modelId="{8179E1A9-6E4F-4E9C-AA9F-2005292646F5}">
      <dgm:prSet custT="1"/>
      <dgm:spPr/>
      <dgm:t>
        <a:bodyPr/>
        <a:lstStyle/>
        <a:p>
          <a:r>
            <a:rPr lang="fr-BE" sz="1600" u="none" dirty="0" err="1" smtClean="0"/>
            <a:t>Periodic</a:t>
          </a:r>
          <a:r>
            <a:rPr lang="fr-BE" sz="1600" u="none" dirty="0" smtClean="0"/>
            <a:t> </a:t>
          </a:r>
          <a:r>
            <a:rPr lang="fr-BE" sz="1600" u="none" dirty="0" err="1" smtClean="0"/>
            <a:t>review</a:t>
          </a:r>
          <a:endParaRPr lang="fr-BE" sz="1600" u="none" dirty="0"/>
        </a:p>
      </dgm:t>
    </dgm:pt>
    <dgm:pt modelId="{981B7115-B8C2-4827-A859-C5368F2E450F}" type="parTrans" cxnId="{4E36C425-EF4F-4D70-B46E-008F5ACDA0B4}">
      <dgm:prSet/>
      <dgm:spPr/>
      <dgm:t>
        <a:bodyPr/>
        <a:lstStyle/>
        <a:p>
          <a:endParaRPr lang="fr-BE" sz="2800" u="none"/>
        </a:p>
      </dgm:t>
    </dgm:pt>
    <dgm:pt modelId="{3CE6A9FD-5D63-4CA9-BD4F-18FD006B8F32}" type="sibTrans" cxnId="{4E36C425-EF4F-4D70-B46E-008F5ACDA0B4}">
      <dgm:prSet/>
      <dgm:spPr/>
      <dgm:t>
        <a:bodyPr/>
        <a:lstStyle/>
        <a:p>
          <a:endParaRPr lang="fr-BE" sz="2800" u="none"/>
        </a:p>
      </dgm:t>
    </dgm:pt>
    <dgm:pt modelId="{09C7AF67-0CDD-4523-8380-3AEBF2BC2B9E}">
      <dgm:prSet custT="1"/>
      <dgm:spPr/>
      <dgm:t>
        <a:bodyPr/>
        <a:lstStyle/>
        <a:p>
          <a:r>
            <a:rPr lang="fr-BE" sz="1600" dirty="0" smtClean="0"/>
            <a:t>"a </a:t>
          </a:r>
          <a:r>
            <a:rPr lang="fr-BE" sz="1600" dirty="0" err="1" smtClean="0"/>
            <a:t>protocol</a:t>
          </a:r>
          <a:r>
            <a:rPr lang="fr-BE" sz="1600" dirty="0" smtClean="0"/>
            <a:t>, </a:t>
          </a:r>
          <a:r>
            <a:rPr lang="fr-BE" sz="1600" dirty="0" err="1" smtClean="0"/>
            <a:t>another</a:t>
          </a:r>
          <a:r>
            <a:rPr lang="fr-BE" sz="1600" dirty="0" smtClean="0"/>
            <a:t> </a:t>
          </a:r>
          <a:r>
            <a:rPr lang="fr-BE" sz="1600" dirty="0" err="1" smtClean="0"/>
            <a:t>legal</a:t>
          </a:r>
          <a:r>
            <a:rPr lang="fr-BE" sz="1600" dirty="0" smtClean="0"/>
            <a:t> instrument or </a:t>
          </a:r>
          <a:r>
            <a:rPr lang="fr-BE" sz="1600" dirty="0" err="1" smtClean="0"/>
            <a:t>agreed</a:t>
          </a:r>
          <a:r>
            <a:rPr lang="fr-BE" sz="1600" dirty="0" smtClean="0"/>
            <a:t> </a:t>
          </a:r>
          <a:r>
            <a:rPr lang="fr-BE" sz="1600" dirty="0" err="1" smtClean="0"/>
            <a:t>outcome</a:t>
          </a:r>
          <a:r>
            <a:rPr lang="fr-BE" sz="1600" dirty="0" smtClean="0"/>
            <a:t> </a:t>
          </a:r>
          <a:r>
            <a:rPr lang="fr-BE" sz="1600" dirty="0" err="1" smtClean="0"/>
            <a:t>with</a:t>
          </a:r>
          <a:r>
            <a:rPr lang="fr-BE" sz="1600" dirty="0" smtClean="0"/>
            <a:t> </a:t>
          </a:r>
          <a:r>
            <a:rPr lang="fr-BE" sz="1600" dirty="0" err="1" smtClean="0"/>
            <a:t>legal</a:t>
          </a:r>
          <a:r>
            <a:rPr lang="fr-BE" sz="1600" dirty="0" smtClean="0"/>
            <a:t> force"</a:t>
          </a:r>
          <a:endParaRPr lang="nl-BE" sz="1600" b="0" u="none" dirty="0" smtClean="0"/>
        </a:p>
      </dgm:t>
    </dgm:pt>
    <dgm:pt modelId="{81615804-9A9D-4B87-B3CB-6DC8BE749366}" type="parTrans" cxnId="{01811447-1656-4154-A479-B1F4927CD97B}">
      <dgm:prSet/>
      <dgm:spPr/>
    </dgm:pt>
    <dgm:pt modelId="{765C2A50-6884-4B2B-A244-F909B1C90347}" type="sibTrans" cxnId="{01811447-1656-4154-A479-B1F4927CD97B}">
      <dgm:prSet/>
      <dgm:spPr/>
    </dgm:pt>
    <dgm:pt modelId="{0409322D-449A-4757-A386-A57D7093EA65}" type="pres">
      <dgm:prSet presAssocID="{D34DB942-4FDE-4437-8F19-DD1A44A9CD4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BE"/>
        </a:p>
      </dgm:t>
    </dgm:pt>
    <dgm:pt modelId="{EEDBFF8E-D950-4421-B82C-66FCA9A1714A}" type="pres">
      <dgm:prSet presAssocID="{B59B1EE4-A1A3-4BD8-9519-77AD4104E50A}" presName="parentLin" presStyleCnt="0"/>
      <dgm:spPr/>
    </dgm:pt>
    <dgm:pt modelId="{532DCFEF-6E28-4B4A-8AEA-3145864F28A8}" type="pres">
      <dgm:prSet presAssocID="{B59B1EE4-A1A3-4BD8-9519-77AD4104E50A}" presName="parentLeftMargin" presStyleLbl="node1" presStyleIdx="0" presStyleCnt="4"/>
      <dgm:spPr/>
      <dgm:t>
        <a:bodyPr/>
        <a:lstStyle/>
        <a:p>
          <a:endParaRPr lang="fr-BE"/>
        </a:p>
      </dgm:t>
    </dgm:pt>
    <dgm:pt modelId="{2AE4345D-AABF-44B8-953E-0B9759381034}" type="pres">
      <dgm:prSet presAssocID="{B59B1EE4-A1A3-4BD8-9519-77AD4104E50A}" presName="parentText" presStyleLbl="node1" presStyleIdx="0" presStyleCnt="4" custLinFactNeighborX="-21362" custLinFactNeighborY="-11237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94AC8C03-1F6B-4C4B-BB1A-CAB431FBF5A1}" type="pres">
      <dgm:prSet presAssocID="{B59B1EE4-A1A3-4BD8-9519-77AD4104E50A}" presName="negativeSpace" presStyleCnt="0"/>
      <dgm:spPr/>
    </dgm:pt>
    <dgm:pt modelId="{98A1559A-DDEA-47CB-958F-D1293037AA56}" type="pres">
      <dgm:prSet presAssocID="{B59B1EE4-A1A3-4BD8-9519-77AD4104E50A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BA8B4D65-F502-4F26-858B-6EEE3F758402}" type="pres">
      <dgm:prSet presAssocID="{E8A8DEC0-703A-49F5-8B50-71CC3030BCF3}" presName="spaceBetweenRectangles" presStyleCnt="0"/>
      <dgm:spPr/>
    </dgm:pt>
    <dgm:pt modelId="{EB013A5A-15A4-4DF4-B6EC-DBAC7B3D98FC}" type="pres">
      <dgm:prSet presAssocID="{1178762F-E20D-40BC-B50D-C0A483F821AF}" presName="parentLin" presStyleCnt="0"/>
      <dgm:spPr/>
    </dgm:pt>
    <dgm:pt modelId="{4B7A658F-01F1-430B-93B5-7045AA545F09}" type="pres">
      <dgm:prSet presAssocID="{1178762F-E20D-40BC-B50D-C0A483F821AF}" presName="parentLeftMargin" presStyleLbl="node1" presStyleIdx="0" presStyleCnt="4"/>
      <dgm:spPr/>
      <dgm:t>
        <a:bodyPr/>
        <a:lstStyle/>
        <a:p>
          <a:endParaRPr lang="fr-BE"/>
        </a:p>
      </dgm:t>
    </dgm:pt>
    <dgm:pt modelId="{CBB8FEAB-1069-4BB7-AE44-CDE219FC03CD}" type="pres">
      <dgm:prSet presAssocID="{1178762F-E20D-40BC-B50D-C0A483F821AF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62DA75EF-34EE-465A-AF9A-67386ECFA649}" type="pres">
      <dgm:prSet presAssocID="{1178762F-E20D-40BC-B50D-C0A483F821AF}" presName="negativeSpace" presStyleCnt="0"/>
      <dgm:spPr/>
    </dgm:pt>
    <dgm:pt modelId="{154EC82F-1F6B-47DA-90B5-789C880337A6}" type="pres">
      <dgm:prSet presAssocID="{1178762F-E20D-40BC-B50D-C0A483F821AF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772808B5-BF3A-4BAB-BE58-292F5C3393F9}" type="pres">
      <dgm:prSet presAssocID="{901F8E5B-49E8-4080-BC46-369E73CA8ECC}" presName="spaceBetweenRectangles" presStyleCnt="0"/>
      <dgm:spPr/>
    </dgm:pt>
    <dgm:pt modelId="{F4DE2F7E-6301-447C-90DA-D83F2F5B09EB}" type="pres">
      <dgm:prSet presAssocID="{A5CC09A8-E7BA-4597-A59B-49463CAB94AF}" presName="parentLin" presStyleCnt="0"/>
      <dgm:spPr/>
    </dgm:pt>
    <dgm:pt modelId="{8321C46E-7967-4978-91C2-62329D3AA2C3}" type="pres">
      <dgm:prSet presAssocID="{A5CC09A8-E7BA-4597-A59B-49463CAB94AF}" presName="parentLeftMargin" presStyleLbl="node1" presStyleIdx="1" presStyleCnt="4"/>
      <dgm:spPr/>
      <dgm:t>
        <a:bodyPr/>
        <a:lstStyle/>
        <a:p>
          <a:endParaRPr lang="fr-BE"/>
        </a:p>
      </dgm:t>
    </dgm:pt>
    <dgm:pt modelId="{04D078D6-719E-4E9A-9671-96EF624E421B}" type="pres">
      <dgm:prSet presAssocID="{A5CC09A8-E7BA-4597-A59B-49463CAB94AF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CDCC6E2C-1786-454C-A114-90D8F250D43B}" type="pres">
      <dgm:prSet presAssocID="{A5CC09A8-E7BA-4597-A59B-49463CAB94AF}" presName="negativeSpace" presStyleCnt="0"/>
      <dgm:spPr/>
    </dgm:pt>
    <dgm:pt modelId="{59EBD8E0-FF1A-426A-B380-DDB020EF321B}" type="pres">
      <dgm:prSet presAssocID="{A5CC09A8-E7BA-4597-A59B-49463CAB94AF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128999DF-864A-4CEB-8B56-4F34D956DD38}" type="pres">
      <dgm:prSet presAssocID="{E235B3DD-2629-4946-91A1-C37C3BE63189}" presName="spaceBetweenRectangles" presStyleCnt="0"/>
      <dgm:spPr/>
    </dgm:pt>
    <dgm:pt modelId="{0D635BD6-8C28-44D3-BDAD-C766BDEC1769}" type="pres">
      <dgm:prSet presAssocID="{1E3824F6-F251-47A8-9C03-030D52ED7464}" presName="parentLin" presStyleCnt="0"/>
      <dgm:spPr/>
    </dgm:pt>
    <dgm:pt modelId="{76E0BF51-0039-4136-800B-5279D8C8F182}" type="pres">
      <dgm:prSet presAssocID="{1E3824F6-F251-47A8-9C03-030D52ED7464}" presName="parentLeftMargin" presStyleLbl="node1" presStyleIdx="2" presStyleCnt="4"/>
      <dgm:spPr/>
      <dgm:t>
        <a:bodyPr/>
        <a:lstStyle/>
        <a:p>
          <a:endParaRPr lang="fr-BE"/>
        </a:p>
      </dgm:t>
    </dgm:pt>
    <dgm:pt modelId="{B1A07024-7A7F-45B6-9CA9-A4C04ACE9775}" type="pres">
      <dgm:prSet presAssocID="{1E3824F6-F251-47A8-9C03-030D52ED7464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DF4A3B64-71EF-4D75-BB21-C5D67BC3EA3F}" type="pres">
      <dgm:prSet presAssocID="{1E3824F6-F251-47A8-9C03-030D52ED7464}" presName="negativeSpace" presStyleCnt="0"/>
      <dgm:spPr/>
    </dgm:pt>
    <dgm:pt modelId="{ABCFD4AB-21E5-4649-90FB-9A46DC0DC2D5}" type="pres">
      <dgm:prSet presAssocID="{1E3824F6-F251-47A8-9C03-030D52ED7464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</dgm:ptLst>
  <dgm:cxnLst>
    <dgm:cxn modelId="{4CD0AC47-DE88-49B3-A15C-69D26391D068}" srcId="{D34DB942-4FDE-4437-8F19-DD1A44A9CD4F}" destId="{B59B1EE4-A1A3-4BD8-9519-77AD4104E50A}" srcOrd="0" destOrd="0" parTransId="{C7AF3B77-A947-4D44-843B-772130855554}" sibTransId="{E8A8DEC0-703A-49F5-8B50-71CC3030BCF3}"/>
    <dgm:cxn modelId="{5CC74E62-6BC9-48F3-BC6A-CAE3F0172F0F}" type="presOf" srcId="{B59B1EE4-A1A3-4BD8-9519-77AD4104E50A}" destId="{532DCFEF-6E28-4B4A-8AEA-3145864F28A8}" srcOrd="0" destOrd="0" presId="urn:microsoft.com/office/officeart/2005/8/layout/list1"/>
    <dgm:cxn modelId="{B16153E5-7292-4F48-86A1-ECBF9F4D82CA}" type="presOf" srcId="{1E3824F6-F251-47A8-9C03-030D52ED7464}" destId="{76E0BF51-0039-4136-800B-5279D8C8F182}" srcOrd="0" destOrd="0" presId="urn:microsoft.com/office/officeart/2005/8/layout/list1"/>
    <dgm:cxn modelId="{F2CCF878-B4CE-418E-83F1-FF1D6382A138}" srcId="{1178762F-E20D-40BC-B50D-C0A483F821AF}" destId="{574B1B69-1F98-4FBD-9762-F06838039B96}" srcOrd="0" destOrd="0" parTransId="{86C2CA9A-8DB3-4154-984E-AD938A9911F8}" sibTransId="{6AC133D3-DBD8-4CD9-9C1A-DC5ADD3C549E}"/>
    <dgm:cxn modelId="{4E36C425-EF4F-4D70-B46E-008F5ACDA0B4}" srcId="{1178762F-E20D-40BC-B50D-C0A483F821AF}" destId="{8179E1A9-6E4F-4E9C-AA9F-2005292646F5}" srcOrd="1" destOrd="0" parTransId="{981B7115-B8C2-4827-A859-C5368F2E450F}" sibTransId="{3CE6A9FD-5D63-4CA9-BD4F-18FD006B8F32}"/>
    <dgm:cxn modelId="{844B093C-5026-44F5-B6D6-7F1B03EC2B14}" srcId="{A5CC09A8-E7BA-4597-A59B-49463CAB94AF}" destId="{EF298B66-9117-466C-8684-73D332288FCC}" srcOrd="1" destOrd="0" parTransId="{31CE378F-125D-41D4-98B9-74F0E9CC8538}" sibTransId="{AE356B3E-7CEB-4CA2-B81F-7BCA1630ECC5}"/>
    <dgm:cxn modelId="{021888A5-B84D-4514-9C76-1A3438D4C926}" type="presOf" srcId="{CE5FCEC1-F013-405C-9EC3-9B1A762AA97C}" destId="{98A1559A-DDEA-47CB-958F-D1293037AA56}" srcOrd="0" destOrd="2" presId="urn:microsoft.com/office/officeart/2005/8/layout/list1"/>
    <dgm:cxn modelId="{E44BA8E1-4F3B-4ED4-B2C9-702BE9B9A58A}" type="presOf" srcId="{C817DBE7-D90A-4716-8AAF-C01D9586C358}" destId="{98A1559A-DDEA-47CB-958F-D1293037AA56}" srcOrd="0" destOrd="1" presId="urn:microsoft.com/office/officeart/2005/8/layout/list1"/>
    <dgm:cxn modelId="{AF64D170-91D5-420A-B614-2766F9C722E4}" type="presOf" srcId="{D34DB942-4FDE-4437-8F19-DD1A44A9CD4F}" destId="{0409322D-449A-4757-A386-A57D7093EA65}" srcOrd="0" destOrd="0" presId="urn:microsoft.com/office/officeart/2005/8/layout/list1"/>
    <dgm:cxn modelId="{3F321BAC-91BB-482C-8899-50127501FA42}" type="presOf" srcId="{1178762F-E20D-40BC-B50D-C0A483F821AF}" destId="{CBB8FEAB-1069-4BB7-AE44-CDE219FC03CD}" srcOrd="1" destOrd="0" presId="urn:microsoft.com/office/officeart/2005/8/layout/list1"/>
    <dgm:cxn modelId="{7968E947-E90A-4114-A24F-82ADAFAA227B}" srcId="{D34DB942-4FDE-4437-8F19-DD1A44A9CD4F}" destId="{A5CC09A8-E7BA-4597-A59B-49463CAB94AF}" srcOrd="2" destOrd="0" parTransId="{54522269-4702-4174-9B7A-436AC851B808}" sibTransId="{E235B3DD-2629-4946-91A1-C37C3BE63189}"/>
    <dgm:cxn modelId="{B5C1794C-C018-4DF7-A64B-0F1E69D15FA6}" type="presOf" srcId="{09C7AF67-0CDD-4523-8380-3AEBF2BC2B9E}" destId="{98A1559A-DDEA-47CB-958F-D1293037AA56}" srcOrd="0" destOrd="0" presId="urn:microsoft.com/office/officeart/2005/8/layout/list1"/>
    <dgm:cxn modelId="{01811447-1656-4154-A479-B1F4927CD97B}" srcId="{B59B1EE4-A1A3-4BD8-9519-77AD4104E50A}" destId="{09C7AF67-0CDD-4523-8380-3AEBF2BC2B9E}" srcOrd="0" destOrd="0" parTransId="{81615804-9A9D-4B87-B3CB-6DC8BE749366}" sibTransId="{765C2A50-6884-4B2B-A244-F909B1C90347}"/>
    <dgm:cxn modelId="{A17EB541-8B4B-46F5-BF80-8B9A13280173}" srcId="{A5CC09A8-E7BA-4597-A59B-49463CAB94AF}" destId="{A6889874-29CE-4801-95A5-EBC558C472B7}" srcOrd="0" destOrd="0" parTransId="{D84D4C67-F884-4880-AAD2-42F8E82C4ED0}" sibTransId="{C68EDBD9-0D85-4003-AD16-511ED82FE765}"/>
    <dgm:cxn modelId="{F73433FB-630B-4099-A46C-D8130CA83A58}" type="presOf" srcId="{A5CC09A8-E7BA-4597-A59B-49463CAB94AF}" destId="{8321C46E-7967-4978-91C2-62329D3AA2C3}" srcOrd="0" destOrd="0" presId="urn:microsoft.com/office/officeart/2005/8/layout/list1"/>
    <dgm:cxn modelId="{DC67DE3F-9D25-43ED-AABA-DBB5542AF6F3}" srcId="{D34DB942-4FDE-4437-8F19-DD1A44A9CD4F}" destId="{1E3824F6-F251-47A8-9C03-030D52ED7464}" srcOrd="3" destOrd="0" parTransId="{B8731C4A-A229-46CC-9C35-56D372663091}" sibTransId="{4D7ACC14-094B-4802-B10E-4C926775F38B}"/>
    <dgm:cxn modelId="{EF2EDF9B-34D5-432C-9370-A4C82ED949C0}" srcId="{1E3824F6-F251-47A8-9C03-030D52ED7464}" destId="{0F9B35C6-9514-45F6-B2C2-669863E0C92B}" srcOrd="0" destOrd="0" parTransId="{836AA029-A7D4-4153-945D-58D0E1D9F424}" sibTransId="{E9003D49-B268-438C-97DC-BD157B3897DB}"/>
    <dgm:cxn modelId="{2DF59741-EFED-4224-98B4-CE98D46AFCEE}" type="presOf" srcId="{1E3824F6-F251-47A8-9C03-030D52ED7464}" destId="{B1A07024-7A7F-45B6-9CA9-A4C04ACE9775}" srcOrd="1" destOrd="0" presId="urn:microsoft.com/office/officeart/2005/8/layout/list1"/>
    <dgm:cxn modelId="{B67B23F3-FA47-4C7A-9D64-0E878C04C3EC}" srcId="{B59B1EE4-A1A3-4BD8-9519-77AD4104E50A}" destId="{C817DBE7-D90A-4716-8AAF-C01D9586C358}" srcOrd="1" destOrd="0" parTransId="{F2674327-F658-4E0B-839E-0D10B2EAB32A}" sibTransId="{5B7783ED-8443-460B-ACF8-8D4D6ADCADAF}"/>
    <dgm:cxn modelId="{FDE3A753-4B0E-458A-8CE4-6EE864D8DBC9}" srcId="{D34DB942-4FDE-4437-8F19-DD1A44A9CD4F}" destId="{1178762F-E20D-40BC-B50D-C0A483F821AF}" srcOrd="1" destOrd="0" parTransId="{26FCD3A2-93B0-42CF-9B34-58745C0B4D02}" sibTransId="{901F8E5B-49E8-4080-BC46-369E73CA8ECC}"/>
    <dgm:cxn modelId="{B69472BD-FC8C-4F7F-8B26-E8F58ABB6702}" type="presOf" srcId="{1178762F-E20D-40BC-B50D-C0A483F821AF}" destId="{4B7A658F-01F1-430B-93B5-7045AA545F09}" srcOrd="0" destOrd="0" presId="urn:microsoft.com/office/officeart/2005/8/layout/list1"/>
    <dgm:cxn modelId="{F2CEAC06-BC24-45AA-BF35-88A85A3E72CC}" type="presOf" srcId="{574B1B69-1F98-4FBD-9762-F06838039B96}" destId="{154EC82F-1F6B-47DA-90B5-789C880337A6}" srcOrd="0" destOrd="0" presId="urn:microsoft.com/office/officeart/2005/8/layout/list1"/>
    <dgm:cxn modelId="{57466D2C-88AA-4E96-8906-9E0CF6168BDD}" type="presOf" srcId="{A5CC09A8-E7BA-4597-A59B-49463CAB94AF}" destId="{04D078D6-719E-4E9A-9671-96EF624E421B}" srcOrd="1" destOrd="0" presId="urn:microsoft.com/office/officeart/2005/8/layout/list1"/>
    <dgm:cxn modelId="{0453CF6C-45AC-466A-BFE1-1E28FF719DAD}" type="presOf" srcId="{1C67F741-D580-4483-937E-FE5FDD9DBBD5}" destId="{59EBD8E0-FF1A-426A-B380-DDB020EF321B}" srcOrd="0" destOrd="2" presId="urn:microsoft.com/office/officeart/2005/8/layout/list1"/>
    <dgm:cxn modelId="{0B7F895F-D198-48A8-9815-F3E360AC65C3}" srcId="{A5CC09A8-E7BA-4597-A59B-49463CAB94AF}" destId="{1C67F741-D580-4483-937E-FE5FDD9DBBD5}" srcOrd="2" destOrd="0" parTransId="{C5F913F1-DF4D-4BB5-9172-E88E22EE437A}" sibTransId="{210FBDD7-6BCD-4248-A3B3-2A97C0A50095}"/>
    <dgm:cxn modelId="{F2BC3355-C248-402D-BE31-060F62DE44AC}" type="presOf" srcId="{A6889874-29CE-4801-95A5-EBC558C472B7}" destId="{59EBD8E0-FF1A-426A-B380-DDB020EF321B}" srcOrd="0" destOrd="0" presId="urn:microsoft.com/office/officeart/2005/8/layout/list1"/>
    <dgm:cxn modelId="{4DAB9BC4-795E-4B73-8C3A-F9C129BA7ED0}" srcId="{B59B1EE4-A1A3-4BD8-9519-77AD4104E50A}" destId="{CE5FCEC1-F013-405C-9EC3-9B1A762AA97C}" srcOrd="2" destOrd="0" parTransId="{9DCEC811-E70E-4D7C-95E6-D8595511E768}" sibTransId="{68DDBD98-6995-4EF1-BA36-FC5D526CE3A0}"/>
    <dgm:cxn modelId="{A14C09BA-E621-464D-93AF-8DEDDE98C289}" type="presOf" srcId="{8179E1A9-6E4F-4E9C-AA9F-2005292646F5}" destId="{154EC82F-1F6B-47DA-90B5-789C880337A6}" srcOrd="0" destOrd="1" presId="urn:microsoft.com/office/officeart/2005/8/layout/list1"/>
    <dgm:cxn modelId="{2B903B41-08DC-4AAD-B99E-48793DE8828B}" type="presOf" srcId="{B59B1EE4-A1A3-4BD8-9519-77AD4104E50A}" destId="{2AE4345D-AABF-44B8-953E-0B9759381034}" srcOrd="1" destOrd="0" presId="urn:microsoft.com/office/officeart/2005/8/layout/list1"/>
    <dgm:cxn modelId="{1585A939-0D4A-408A-8983-E021D0DB179E}" type="presOf" srcId="{0F9B35C6-9514-45F6-B2C2-669863E0C92B}" destId="{ABCFD4AB-21E5-4649-90FB-9A46DC0DC2D5}" srcOrd="0" destOrd="0" presId="urn:microsoft.com/office/officeart/2005/8/layout/list1"/>
    <dgm:cxn modelId="{32DAB8AE-A066-48A6-9E60-2251CE493798}" type="presOf" srcId="{EF298B66-9117-466C-8684-73D332288FCC}" destId="{59EBD8E0-FF1A-426A-B380-DDB020EF321B}" srcOrd="0" destOrd="1" presId="urn:microsoft.com/office/officeart/2005/8/layout/list1"/>
    <dgm:cxn modelId="{333539E2-C6CD-427D-9A86-610F364D6967}" type="presParOf" srcId="{0409322D-449A-4757-A386-A57D7093EA65}" destId="{EEDBFF8E-D950-4421-B82C-66FCA9A1714A}" srcOrd="0" destOrd="0" presId="urn:microsoft.com/office/officeart/2005/8/layout/list1"/>
    <dgm:cxn modelId="{EB81142C-F2F8-449B-8A51-5B0391489AF2}" type="presParOf" srcId="{EEDBFF8E-D950-4421-B82C-66FCA9A1714A}" destId="{532DCFEF-6E28-4B4A-8AEA-3145864F28A8}" srcOrd="0" destOrd="0" presId="urn:microsoft.com/office/officeart/2005/8/layout/list1"/>
    <dgm:cxn modelId="{08EF9315-0E5E-401C-9144-CACF1CECC382}" type="presParOf" srcId="{EEDBFF8E-D950-4421-B82C-66FCA9A1714A}" destId="{2AE4345D-AABF-44B8-953E-0B9759381034}" srcOrd="1" destOrd="0" presId="urn:microsoft.com/office/officeart/2005/8/layout/list1"/>
    <dgm:cxn modelId="{A00F4613-6280-4E8D-88B1-9974FB482E49}" type="presParOf" srcId="{0409322D-449A-4757-A386-A57D7093EA65}" destId="{94AC8C03-1F6B-4C4B-BB1A-CAB431FBF5A1}" srcOrd="1" destOrd="0" presId="urn:microsoft.com/office/officeart/2005/8/layout/list1"/>
    <dgm:cxn modelId="{BC49823F-8E5A-4CF6-BED9-DE310DAF84C7}" type="presParOf" srcId="{0409322D-449A-4757-A386-A57D7093EA65}" destId="{98A1559A-DDEA-47CB-958F-D1293037AA56}" srcOrd="2" destOrd="0" presId="urn:microsoft.com/office/officeart/2005/8/layout/list1"/>
    <dgm:cxn modelId="{227BE3E9-D6D9-4D03-8843-1B0A5689A83E}" type="presParOf" srcId="{0409322D-449A-4757-A386-A57D7093EA65}" destId="{BA8B4D65-F502-4F26-858B-6EEE3F758402}" srcOrd="3" destOrd="0" presId="urn:microsoft.com/office/officeart/2005/8/layout/list1"/>
    <dgm:cxn modelId="{527F6043-3D46-4766-BA42-80745D51C544}" type="presParOf" srcId="{0409322D-449A-4757-A386-A57D7093EA65}" destId="{EB013A5A-15A4-4DF4-B6EC-DBAC7B3D98FC}" srcOrd="4" destOrd="0" presId="urn:microsoft.com/office/officeart/2005/8/layout/list1"/>
    <dgm:cxn modelId="{AB0F6386-D228-480A-A222-8A24290CCF10}" type="presParOf" srcId="{EB013A5A-15A4-4DF4-B6EC-DBAC7B3D98FC}" destId="{4B7A658F-01F1-430B-93B5-7045AA545F09}" srcOrd="0" destOrd="0" presId="urn:microsoft.com/office/officeart/2005/8/layout/list1"/>
    <dgm:cxn modelId="{26FF7A78-29A1-4601-98CF-F5329BB17033}" type="presParOf" srcId="{EB013A5A-15A4-4DF4-B6EC-DBAC7B3D98FC}" destId="{CBB8FEAB-1069-4BB7-AE44-CDE219FC03CD}" srcOrd="1" destOrd="0" presId="urn:microsoft.com/office/officeart/2005/8/layout/list1"/>
    <dgm:cxn modelId="{7185020C-9661-43E1-A7EC-9292822C8E33}" type="presParOf" srcId="{0409322D-449A-4757-A386-A57D7093EA65}" destId="{62DA75EF-34EE-465A-AF9A-67386ECFA649}" srcOrd="5" destOrd="0" presId="urn:microsoft.com/office/officeart/2005/8/layout/list1"/>
    <dgm:cxn modelId="{A861F770-46CF-49B8-8F38-FBD383D4640D}" type="presParOf" srcId="{0409322D-449A-4757-A386-A57D7093EA65}" destId="{154EC82F-1F6B-47DA-90B5-789C880337A6}" srcOrd="6" destOrd="0" presId="urn:microsoft.com/office/officeart/2005/8/layout/list1"/>
    <dgm:cxn modelId="{0AA3BEE6-1007-41EF-8712-E43E974CF14B}" type="presParOf" srcId="{0409322D-449A-4757-A386-A57D7093EA65}" destId="{772808B5-BF3A-4BAB-BE58-292F5C3393F9}" srcOrd="7" destOrd="0" presId="urn:microsoft.com/office/officeart/2005/8/layout/list1"/>
    <dgm:cxn modelId="{169150CE-8807-4E4B-8B85-C386F9E49814}" type="presParOf" srcId="{0409322D-449A-4757-A386-A57D7093EA65}" destId="{F4DE2F7E-6301-447C-90DA-D83F2F5B09EB}" srcOrd="8" destOrd="0" presId="urn:microsoft.com/office/officeart/2005/8/layout/list1"/>
    <dgm:cxn modelId="{0948B31A-A2AB-4A78-AB90-B83F42662555}" type="presParOf" srcId="{F4DE2F7E-6301-447C-90DA-D83F2F5B09EB}" destId="{8321C46E-7967-4978-91C2-62329D3AA2C3}" srcOrd="0" destOrd="0" presId="urn:microsoft.com/office/officeart/2005/8/layout/list1"/>
    <dgm:cxn modelId="{AFAF3ED8-34D6-4153-85B6-2216F38D3DA3}" type="presParOf" srcId="{F4DE2F7E-6301-447C-90DA-D83F2F5B09EB}" destId="{04D078D6-719E-4E9A-9671-96EF624E421B}" srcOrd="1" destOrd="0" presId="urn:microsoft.com/office/officeart/2005/8/layout/list1"/>
    <dgm:cxn modelId="{9A8755E4-FE7C-46D6-BA84-371772C6FC80}" type="presParOf" srcId="{0409322D-449A-4757-A386-A57D7093EA65}" destId="{CDCC6E2C-1786-454C-A114-90D8F250D43B}" srcOrd="9" destOrd="0" presId="urn:microsoft.com/office/officeart/2005/8/layout/list1"/>
    <dgm:cxn modelId="{1F9AA4BE-66F5-437D-83D4-9937710F583E}" type="presParOf" srcId="{0409322D-449A-4757-A386-A57D7093EA65}" destId="{59EBD8E0-FF1A-426A-B380-DDB020EF321B}" srcOrd="10" destOrd="0" presId="urn:microsoft.com/office/officeart/2005/8/layout/list1"/>
    <dgm:cxn modelId="{41236013-534C-48B5-A587-C1D52B827895}" type="presParOf" srcId="{0409322D-449A-4757-A386-A57D7093EA65}" destId="{128999DF-864A-4CEB-8B56-4F34D956DD38}" srcOrd="11" destOrd="0" presId="urn:microsoft.com/office/officeart/2005/8/layout/list1"/>
    <dgm:cxn modelId="{2CFE2BE4-B995-4F18-A9E2-17E44BDFA1ED}" type="presParOf" srcId="{0409322D-449A-4757-A386-A57D7093EA65}" destId="{0D635BD6-8C28-44D3-BDAD-C766BDEC1769}" srcOrd="12" destOrd="0" presId="urn:microsoft.com/office/officeart/2005/8/layout/list1"/>
    <dgm:cxn modelId="{12EA5EC7-D05C-48BF-B0FA-FA3E7098E5FA}" type="presParOf" srcId="{0D635BD6-8C28-44D3-BDAD-C766BDEC1769}" destId="{76E0BF51-0039-4136-800B-5279D8C8F182}" srcOrd="0" destOrd="0" presId="urn:microsoft.com/office/officeart/2005/8/layout/list1"/>
    <dgm:cxn modelId="{E62EDBE6-04BE-43F6-BFDE-5C5AE4FA6A6B}" type="presParOf" srcId="{0D635BD6-8C28-44D3-BDAD-C766BDEC1769}" destId="{B1A07024-7A7F-45B6-9CA9-A4C04ACE9775}" srcOrd="1" destOrd="0" presId="urn:microsoft.com/office/officeart/2005/8/layout/list1"/>
    <dgm:cxn modelId="{D38D2D28-2861-40CC-9758-6DB61AD85B72}" type="presParOf" srcId="{0409322D-449A-4757-A386-A57D7093EA65}" destId="{DF4A3B64-71EF-4D75-BB21-C5D67BC3EA3F}" srcOrd="13" destOrd="0" presId="urn:microsoft.com/office/officeart/2005/8/layout/list1"/>
    <dgm:cxn modelId="{285A2163-2F64-4D15-B03C-A39E06CCB72F}" type="presParOf" srcId="{0409322D-449A-4757-A386-A57D7093EA65}" destId="{ABCFD4AB-21E5-4649-90FB-9A46DC0DC2D5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CE3223-1A6E-432B-9BF5-A29ACF7B661B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fr-BE"/>
        </a:p>
      </dgm:t>
    </dgm:pt>
    <dgm:pt modelId="{7E84962A-3131-47BB-A3AA-D3C9E6DC35B2}">
      <dgm:prSet phldrT="[Texte]"/>
      <dgm:spPr/>
      <dgm:t>
        <a:bodyPr/>
        <a:lstStyle/>
        <a:p>
          <a:r>
            <a:rPr lang="en-US" b="1" smtClean="0"/>
            <a:t>Ambition</a:t>
          </a:r>
          <a:endParaRPr lang="fr-BE"/>
        </a:p>
      </dgm:t>
    </dgm:pt>
    <dgm:pt modelId="{CAE50B03-1574-4774-8B4A-4FD5618ED7B9}" type="parTrans" cxnId="{1AB76A8A-6778-4745-A91C-7D98AE5E0F50}">
      <dgm:prSet/>
      <dgm:spPr/>
      <dgm:t>
        <a:bodyPr/>
        <a:lstStyle/>
        <a:p>
          <a:endParaRPr lang="fr-BE"/>
        </a:p>
      </dgm:t>
    </dgm:pt>
    <dgm:pt modelId="{404C32CF-778A-43E5-BCA8-0330F4B54BA1}" type="sibTrans" cxnId="{1AB76A8A-6778-4745-A91C-7D98AE5E0F50}">
      <dgm:prSet/>
      <dgm:spPr/>
      <dgm:t>
        <a:bodyPr/>
        <a:lstStyle/>
        <a:p>
          <a:endParaRPr lang="fr-BE"/>
        </a:p>
      </dgm:t>
    </dgm:pt>
    <dgm:pt modelId="{1A894410-F014-4764-9670-74CA65D76CB4}">
      <dgm:prSet/>
      <dgm:spPr/>
      <dgm:t>
        <a:bodyPr/>
        <a:lstStyle/>
        <a:p>
          <a:r>
            <a:rPr lang="en-US" smtClean="0"/>
            <a:t>Adequacy of commitments with long term global goal</a:t>
          </a:r>
          <a:endParaRPr lang="en-US" dirty="0" smtClean="0"/>
        </a:p>
      </dgm:t>
    </dgm:pt>
    <dgm:pt modelId="{D2168BB5-3F17-4E39-A437-3A2A869B1BED}" type="parTrans" cxnId="{924EBABD-CE88-4C9C-9096-DBA506E25289}">
      <dgm:prSet/>
      <dgm:spPr/>
      <dgm:t>
        <a:bodyPr/>
        <a:lstStyle/>
        <a:p>
          <a:endParaRPr lang="fr-BE"/>
        </a:p>
      </dgm:t>
    </dgm:pt>
    <dgm:pt modelId="{78EF60C6-3520-4A3E-B0A3-94311C82CE7C}" type="sibTrans" cxnId="{924EBABD-CE88-4C9C-9096-DBA506E25289}">
      <dgm:prSet/>
      <dgm:spPr/>
      <dgm:t>
        <a:bodyPr/>
        <a:lstStyle/>
        <a:p>
          <a:endParaRPr lang="fr-BE"/>
        </a:p>
      </dgm:t>
    </dgm:pt>
    <dgm:pt modelId="{392B2FFF-7794-4D9E-8D97-53315A3B6ACD}">
      <dgm:prSet/>
      <dgm:spPr/>
      <dgm:t>
        <a:bodyPr/>
        <a:lstStyle/>
        <a:p>
          <a:r>
            <a:rPr lang="en-US" smtClean="0"/>
            <a:t>Periodic Ambition cycles</a:t>
          </a:r>
          <a:endParaRPr lang="en-US" dirty="0"/>
        </a:p>
      </dgm:t>
    </dgm:pt>
    <dgm:pt modelId="{644C3999-B823-4672-ABF7-010C2ED2F679}" type="parTrans" cxnId="{9829DABC-C887-48F2-B439-6CA0DEDC6F77}">
      <dgm:prSet/>
      <dgm:spPr/>
      <dgm:t>
        <a:bodyPr/>
        <a:lstStyle/>
        <a:p>
          <a:endParaRPr lang="fr-BE"/>
        </a:p>
      </dgm:t>
    </dgm:pt>
    <dgm:pt modelId="{AB998647-9C21-4254-972E-72DBEDACFDE3}" type="sibTrans" cxnId="{9829DABC-C887-48F2-B439-6CA0DEDC6F77}">
      <dgm:prSet/>
      <dgm:spPr/>
      <dgm:t>
        <a:bodyPr/>
        <a:lstStyle/>
        <a:p>
          <a:endParaRPr lang="fr-BE"/>
        </a:p>
      </dgm:t>
    </dgm:pt>
    <dgm:pt modelId="{3768E424-5995-4A4C-AA08-A28A88DCD8AF}">
      <dgm:prSet/>
      <dgm:spPr/>
      <dgm:t>
        <a:bodyPr/>
        <a:lstStyle/>
        <a:p>
          <a:r>
            <a:rPr lang="en-US" b="1" smtClean="0"/>
            <a:t>Differentiation</a:t>
          </a:r>
          <a:endParaRPr lang="en-US" b="1" dirty="0"/>
        </a:p>
      </dgm:t>
    </dgm:pt>
    <dgm:pt modelId="{D69F399D-7FFD-4F84-8889-197BC2BD65DE}" type="parTrans" cxnId="{0F123195-792D-4A19-B428-C452F519BB7B}">
      <dgm:prSet/>
      <dgm:spPr/>
      <dgm:t>
        <a:bodyPr/>
        <a:lstStyle/>
        <a:p>
          <a:endParaRPr lang="fr-BE"/>
        </a:p>
      </dgm:t>
    </dgm:pt>
    <dgm:pt modelId="{BC0BA87F-8FFE-4779-A68F-F672FE9F1435}" type="sibTrans" cxnId="{0F123195-792D-4A19-B428-C452F519BB7B}">
      <dgm:prSet/>
      <dgm:spPr/>
      <dgm:t>
        <a:bodyPr/>
        <a:lstStyle/>
        <a:p>
          <a:endParaRPr lang="fr-BE"/>
        </a:p>
      </dgm:t>
    </dgm:pt>
    <dgm:pt modelId="{54C82DC2-9289-4A43-AF29-8586849E41D4}">
      <dgm:prSet/>
      <dgm:spPr/>
      <dgm:t>
        <a:bodyPr/>
        <a:lstStyle/>
        <a:p>
          <a:r>
            <a:rPr lang="en-US" smtClean="0"/>
            <a:t>Creative reading of the principles of the Convention (equity, CBDR/RC, specific needs et special circumstances of DCs)</a:t>
          </a:r>
          <a:endParaRPr lang="en-US" dirty="0" smtClean="0"/>
        </a:p>
      </dgm:t>
    </dgm:pt>
    <dgm:pt modelId="{89F8F0CA-4CD7-41BC-9D05-13577A69D19F}" type="parTrans" cxnId="{F04746AA-7F1F-4218-9C91-5C9EA80E5B31}">
      <dgm:prSet/>
      <dgm:spPr/>
      <dgm:t>
        <a:bodyPr/>
        <a:lstStyle/>
        <a:p>
          <a:endParaRPr lang="fr-BE"/>
        </a:p>
      </dgm:t>
    </dgm:pt>
    <dgm:pt modelId="{D365DD8F-6CFA-44AD-8836-A30665316978}" type="sibTrans" cxnId="{F04746AA-7F1F-4218-9C91-5C9EA80E5B31}">
      <dgm:prSet/>
      <dgm:spPr/>
      <dgm:t>
        <a:bodyPr/>
        <a:lstStyle/>
        <a:p>
          <a:endParaRPr lang="fr-BE"/>
        </a:p>
      </dgm:t>
    </dgm:pt>
    <dgm:pt modelId="{00476023-886A-4E47-92EC-24164B03EA11}">
      <dgm:prSet/>
      <dgm:spPr/>
      <dgm:t>
        <a:bodyPr/>
        <a:lstStyle/>
        <a:p>
          <a:r>
            <a:rPr lang="en-US" smtClean="0"/>
            <a:t>Move away from the firewall (developed vs. developing world)</a:t>
          </a:r>
          <a:endParaRPr lang="en-US" dirty="0"/>
        </a:p>
      </dgm:t>
    </dgm:pt>
    <dgm:pt modelId="{A526F166-57AC-4E83-ABB7-5B9C1C20E2A2}" type="parTrans" cxnId="{59BD512B-8FF7-4ADA-A779-D20978ED9021}">
      <dgm:prSet/>
      <dgm:spPr/>
      <dgm:t>
        <a:bodyPr/>
        <a:lstStyle/>
        <a:p>
          <a:endParaRPr lang="fr-BE"/>
        </a:p>
      </dgm:t>
    </dgm:pt>
    <dgm:pt modelId="{D63CBA59-4291-4135-91DB-06820A0A0F02}" type="sibTrans" cxnId="{59BD512B-8FF7-4ADA-A779-D20978ED9021}">
      <dgm:prSet/>
      <dgm:spPr/>
      <dgm:t>
        <a:bodyPr/>
        <a:lstStyle/>
        <a:p>
          <a:endParaRPr lang="fr-BE"/>
        </a:p>
      </dgm:t>
    </dgm:pt>
    <dgm:pt modelId="{8514172B-FC45-4B35-B07F-60F3755A2720}">
      <dgm:prSet/>
      <dgm:spPr/>
      <dgm:t>
        <a:bodyPr/>
        <a:lstStyle/>
        <a:p>
          <a:r>
            <a:rPr lang="en-US" b="1" smtClean="0"/>
            <a:t>Rules &amp; Transparency</a:t>
          </a:r>
          <a:endParaRPr lang="en-US" b="1" dirty="0"/>
        </a:p>
      </dgm:t>
    </dgm:pt>
    <dgm:pt modelId="{E3072511-95E4-4A8F-8C25-FDE14DDA1671}" type="parTrans" cxnId="{04FB2F72-EAEB-4C21-A035-FAB54688C1C9}">
      <dgm:prSet/>
      <dgm:spPr/>
      <dgm:t>
        <a:bodyPr/>
        <a:lstStyle/>
        <a:p>
          <a:endParaRPr lang="fr-BE"/>
        </a:p>
      </dgm:t>
    </dgm:pt>
    <dgm:pt modelId="{F0CDF0B9-CEF7-4413-BF05-C298E4421110}" type="sibTrans" cxnId="{04FB2F72-EAEB-4C21-A035-FAB54688C1C9}">
      <dgm:prSet/>
      <dgm:spPr/>
      <dgm:t>
        <a:bodyPr/>
        <a:lstStyle/>
        <a:p>
          <a:endParaRPr lang="fr-BE"/>
        </a:p>
      </dgm:t>
    </dgm:pt>
    <dgm:pt modelId="{EFFCFD45-C172-44D6-866D-F9A104700EED}">
      <dgm:prSet/>
      <dgm:spPr/>
      <dgm:t>
        <a:bodyPr/>
        <a:lstStyle/>
        <a:p>
          <a:r>
            <a:rPr lang="en-US" smtClean="0"/>
            <a:t>Common rules to evaluate commitment &amp; global ambition</a:t>
          </a:r>
          <a:endParaRPr lang="en-US" dirty="0"/>
        </a:p>
      </dgm:t>
    </dgm:pt>
    <dgm:pt modelId="{985ADDC6-8F9F-49CF-AE7E-C03262164339}" type="parTrans" cxnId="{17CBD3B9-FF4D-4DD0-82D8-E9C7516C8D61}">
      <dgm:prSet/>
      <dgm:spPr/>
      <dgm:t>
        <a:bodyPr/>
        <a:lstStyle/>
        <a:p>
          <a:endParaRPr lang="fr-BE"/>
        </a:p>
      </dgm:t>
    </dgm:pt>
    <dgm:pt modelId="{216118CA-9B6B-43C3-AC94-0E0EEE8C425F}" type="sibTrans" cxnId="{17CBD3B9-FF4D-4DD0-82D8-E9C7516C8D61}">
      <dgm:prSet/>
      <dgm:spPr/>
      <dgm:t>
        <a:bodyPr/>
        <a:lstStyle/>
        <a:p>
          <a:endParaRPr lang="fr-BE"/>
        </a:p>
      </dgm:t>
    </dgm:pt>
    <dgm:pt modelId="{60A86BE1-957B-4119-BD77-ED297A3CE16D}">
      <dgm:prSet/>
      <dgm:spPr/>
      <dgm:t>
        <a:bodyPr/>
        <a:lstStyle/>
        <a:p>
          <a:r>
            <a:rPr lang="en-US" smtClean="0"/>
            <a:t>Should apply to all Parties, while with differentiation</a:t>
          </a:r>
          <a:endParaRPr lang="en-US" dirty="0"/>
        </a:p>
      </dgm:t>
    </dgm:pt>
    <dgm:pt modelId="{E9E87FE4-37B4-4EB8-A07E-87AEDA7EEDD6}" type="parTrans" cxnId="{BC790877-F4C9-46DB-A455-7CE819CC208F}">
      <dgm:prSet/>
      <dgm:spPr/>
      <dgm:t>
        <a:bodyPr/>
        <a:lstStyle/>
        <a:p>
          <a:endParaRPr lang="fr-BE"/>
        </a:p>
      </dgm:t>
    </dgm:pt>
    <dgm:pt modelId="{E811DB64-A07E-4242-A191-642FAD3DB734}" type="sibTrans" cxnId="{BC790877-F4C9-46DB-A455-7CE819CC208F}">
      <dgm:prSet/>
      <dgm:spPr/>
      <dgm:t>
        <a:bodyPr/>
        <a:lstStyle/>
        <a:p>
          <a:endParaRPr lang="fr-BE"/>
        </a:p>
      </dgm:t>
    </dgm:pt>
    <dgm:pt modelId="{344CADBE-266E-45C1-A814-3419471FD827}">
      <dgm:prSet/>
      <dgm:spPr/>
      <dgm:t>
        <a:bodyPr/>
        <a:lstStyle/>
        <a:p>
          <a:r>
            <a:rPr lang="en-US" b="1" smtClean="0"/>
            <a:t>Markets</a:t>
          </a:r>
          <a:endParaRPr lang="en-US" b="1" dirty="0"/>
        </a:p>
      </dgm:t>
    </dgm:pt>
    <dgm:pt modelId="{140D0917-9AED-4217-816F-37E47BCA4460}" type="parTrans" cxnId="{B25B23A0-1B19-4C7E-BF90-BF19CE12052B}">
      <dgm:prSet/>
      <dgm:spPr/>
      <dgm:t>
        <a:bodyPr/>
        <a:lstStyle/>
        <a:p>
          <a:endParaRPr lang="fr-BE"/>
        </a:p>
      </dgm:t>
    </dgm:pt>
    <dgm:pt modelId="{1FBD23DA-560E-4166-A7BA-08E3F4AFC5DA}" type="sibTrans" cxnId="{B25B23A0-1B19-4C7E-BF90-BF19CE12052B}">
      <dgm:prSet/>
      <dgm:spPr/>
      <dgm:t>
        <a:bodyPr/>
        <a:lstStyle/>
        <a:p>
          <a:endParaRPr lang="fr-BE"/>
        </a:p>
      </dgm:t>
    </dgm:pt>
    <dgm:pt modelId="{3EA91809-A7A4-4505-81E7-E931C7BBF1B1}">
      <dgm:prSet/>
      <dgm:spPr/>
      <dgm:t>
        <a:bodyPr/>
        <a:lstStyle/>
        <a:p>
          <a:r>
            <a:rPr lang="en-US" smtClean="0"/>
            <a:t>New market mechanisms to be created</a:t>
          </a:r>
          <a:endParaRPr lang="en-US" dirty="0"/>
        </a:p>
      </dgm:t>
    </dgm:pt>
    <dgm:pt modelId="{36277635-4120-4335-8E41-9D3CFE22AB32}" type="parTrans" cxnId="{747B80ED-9127-48E3-A6D8-C3F7B9A92D48}">
      <dgm:prSet/>
      <dgm:spPr/>
      <dgm:t>
        <a:bodyPr/>
        <a:lstStyle/>
        <a:p>
          <a:endParaRPr lang="fr-BE"/>
        </a:p>
      </dgm:t>
    </dgm:pt>
    <dgm:pt modelId="{A5264F68-C276-4C8B-86BD-AF3E348C214F}" type="sibTrans" cxnId="{747B80ED-9127-48E3-A6D8-C3F7B9A92D48}">
      <dgm:prSet/>
      <dgm:spPr/>
      <dgm:t>
        <a:bodyPr/>
        <a:lstStyle/>
        <a:p>
          <a:endParaRPr lang="fr-BE"/>
        </a:p>
      </dgm:t>
    </dgm:pt>
    <dgm:pt modelId="{537D7A4C-6F1F-4BEC-9AF7-A2AAA13EB7FC}">
      <dgm:prSet/>
      <dgm:spPr/>
      <dgm:t>
        <a:bodyPr/>
        <a:lstStyle/>
        <a:p>
          <a:r>
            <a:rPr lang="en-US" smtClean="0"/>
            <a:t>Robust common accounting rules = prerequisite to avoid hot air</a:t>
          </a:r>
          <a:endParaRPr lang="en-US" dirty="0"/>
        </a:p>
      </dgm:t>
    </dgm:pt>
    <dgm:pt modelId="{C3978659-D5B0-47F9-B06E-677BC0ED46EA}" type="parTrans" cxnId="{CD61A6D3-3CA3-4390-9913-7E74A3189D0F}">
      <dgm:prSet/>
      <dgm:spPr/>
      <dgm:t>
        <a:bodyPr/>
        <a:lstStyle/>
        <a:p>
          <a:endParaRPr lang="fr-BE"/>
        </a:p>
      </dgm:t>
    </dgm:pt>
    <dgm:pt modelId="{E547C3F2-0688-4202-BBC1-D4B16DEF99EE}" type="sibTrans" cxnId="{CD61A6D3-3CA3-4390-9913-7E74A3189D0F}">
      <dgm:prSet/>
      <dgm:spPr/>
      <dgm:t>
        <a:bodyPr/>
        <a:lstStyle/>
        <a:p>
          <a:endParaRPr lang="fr-BE"/>
        </a:p>
      </dgm:t>
    </dgm:pt>
    <dgm:pt modelId="{E0A5AB72-5CB5-4EED-ADCE-FF0570397A97}" type="pres">
      <dgm:prSet presAssocID="{E5CE3223-1A6E-432B-9BF5-A29ACF7B661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BE"/>
        </a:p>
      </dgm:t>
    </dgm:pt>
    <dgm:pt modelId="{CCCD42E9-EF16-4684-8397-3E0B7D953163}" type="pres">
      <dgm:prSet presAssocID="{7E84962A-3131-47BB-A3AA-D3C9E6DC35B2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24AA9A3F-81DC-4623-B964-7A5111B983EE}" type="pres">
      <dgm:prSet presAssocID="{7E84962A-3131-47BB-A3AA-D3C9E6DC35B2}" presName="childText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E9199926-1AEA-4922-BAFC-56A5737B6E27}" type="pres">
      <dgm:prSet presAssocID="{3768E424-5995-4A4C-AA08-A28A88DCD8AF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4CC15D6D-AC6F-4CBD-B88D-484DB5128A36}" type="pres">
      <dgm:prSet presAssocID="{3768E424-5995-4A4C-AA08-A28A88DCD8AF}" presName="childText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C66F3746-3758-4D14-B2E1-5C11F73D4C26}" type="pres">
      <dgm:prSet presAssocID="{8514172B-FC45-4B35-B07F-60F3755A2720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C20F67A7-B949-41C5-9918-AEBE6D5B8A8B}" type="pres">
      <dgm:prSet presAssocID="{8514172B-FC45-4B35-B07F-60F3755A2720}" presName="childText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77BCF8D9-4C5D-4D25-A69D-EFF6FE739DBF}" type="pres">
      <dgm:prSet presAssocID="{344CADBE-266E-45C1-A814-3419471FD827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fr-BE"/>
        </a:p>
      </dgm:t>
    </dgm:pt>
    <dgm:pt modelId="{E1A2F62C-45A4-4CA4-A950-429CDD7C32C0}" type="pres">
      <dgm:prSet presAssocID="{344CADBE-266E-45C1-A814-3419471FD827}" presName="childText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fr-BE"/>
        </a:p>
      </dgm:t>
    </dgm:pt>
  </dgm:ptLst>
  <dgm:cxnLst>
    <dgm:cxn modelId="{4723E570-2CCF-45CD-8D11-D3382E792D30}" type="presOf" srcId="{54C82DC2-9289-4A43-AF29-8586849E41D4}" destId="{4CC15D6D-AC6F-4CBD-B88D-484DB5128A36}" srcOrd="0" destOrd="0" presId="urn:microsoft.com/office/officeart/2005/8/layout/vList2"/>
    <dgm:cxn modelId="{34F0B044-378E-48BB-A384-06178F87F9F7}" type="presOf" srcId="{7E84962A-3131-47BB-A3AA-D3C9E6DC35B2}" destId="{CCCD42E9-EF16-4684-8397-3E0B7D953163}" srcOrd="0" destOrd="0" presId="urn:microsoft.com/office/officeart/2005/8/layout/vList2"/>
    <dgm:cxn modelId="{0F123195-792D-4A19-B428-C452F519BB7B}" srcId="{E5CE3223-1A6E-432B-9BF5-A29ACF7B661B}" destId="{3768E424-5995-4A4C-AA08-A28A88DCD8AF}" srcOrd="1" destOrd="0" parTransId="{D69F399D-7FFD-4F84-8889-197BC2BD65DE}" sibTransId="{BC0BA87F-8FFE-4779-A68F-F672FE9F1435}"/>
    <dgm:cxn modelId="{04FB2F72-EAEB-4C21-A035-FAB54688C1C9}" srcId="{E5CE3223-1A6E-432B-9BF5-A29ACF7B661B}" destId="{8514172B-FC45-4B35-B07F-60F3755A2720}" srcOrd="2" destOrd="0" parTransId="{E3072511-95E4-4A8F-8C25-FDE14DDA1671}" sibTransId="{F0CDF0B9-CEF7-4413-BF05-C298E4421110}"/>
    <dgm:cxn modelId="{CD61A6D3-3CA3-4390-9913-7E74A3189D0F}" srcId="{344CADBE-266E-45C1-A814-3419471FD827}" destId="{537D7A4C-6F1F-4BEC-9AF7-A2AAA13EB7FC}" srcOrd="1" destOrd="0" parTransId="{C3978659-D5B0-47F9-B06E-677BC0ED46EA}" sibTransId="{E547C3F2-0688-4202-BBC1-D4B16DEF99EE}"/>
    <dgm:cxn modelId="{BE4BD439-FE2C-42F1-B721-66C899C3A548}" type="presOf" srcId="{392B2FFF-7794-4D9E-8D97-53315A3B6ACD}" destId="{24AA9A3F-81DC-4623-B964-7A5111B983EE}" srcOrd="0" destOrd="1" presId="urn:microsoft.com/office/officeart/2005/8/layout/vList2"/>
    <dgm:cxn modelId="{17CBD3B9-FF4D-4DD0-82D8-E9C7516C8D61}" srcId="{8514172B-FC45-4B35-B07F-60F3755A2720}" destId="{EFFCFD45-C172-44D6-866D-F9A104700EED}" srcOrd="0" destOrd="0" parTransId="{985ADDC6-8F9F-49CF-AE7E-C03262164339}" sibTransId="{216118CA-9B6B-43C3-AC94-0E0EEE8C425F}"/>
    <dgm:cxn modelId="{5791B60D-4000-4439-99CD-2D92A080D2B4}" type="presOf" srcId="{60A86BE1-957B-4119-BD77-ED297A3CE16D}" destId="{C20F67A7-B949-41C5-9918-AEBE6D5B8A8B}" srcOrd="0" destOrd="1" presId="urn:microsoft.com/office/officeart/2005/8/layout/vList2"/>
    <dgm:cxn modelId="{DB32387D-C5C4-4C77-A958-71CEAAB43EC9}" type="presOf" srcId="{3EA91809-A7A4-4505-81E7-E931C7BBF1B1}" destId="{E1A2F62C-45A4-4CA4-A950-429CDD7C32C0}" srcOrd="0" destOrd="0" presId="urn:microsoft.com/office/officeart/2005/8/layout/vList2"/>
    <dgm:cxn modelId="{59BD512B-8FF7-4ADA-A779-D20978ED9021}" srcId="{3768E424-5995-4A4C-AA08-A28A88DCD8AF}" destId="{00476023-886A-4E47-92EC-24164B03EA11}" srcOrd="1" destOrd="0" parTransId="{A526F166-57AC-4E83-ABB7-5B9C1C20E2A2}" sibTransId="{D63CBA59-4291-4135-91DB-06820A0A0F02}"/>
    <dgm:cxn modelId="{6F2A165A-5AC2-42C1-9202-62F3779E9DFE}" type="presOf" srcId="{344CADBE-266E-45C1-A814-3419471FD827}" destId="{77BCF8D9-4C5D-4D25-A69D-EFF6FE739DBF}" srcOrd="0" destOrd="0" presId="urn:microsoft.com/office/officeart/2005/8/layout/vList2"/>
    <dgm:cxn modelId="{C29BC863-8A4F-45E2-ABD3-737CF9F0F12C}" type="presOf" srcId="{1A894410-F014-4764-9670-74CA65D76CB4}" destId="{24AA9A3F-81DC-4623-B964-7A5111B983EE}" srcOrd="0" destOrd="0" presId="urn:microsoft.com/office/officeart/2005/8/layout/vList2"/>
    <dgm:cxn modelId="{DB281EF9-EFA4-4AF0-A529-8108FA2BED1B}" type="presOf" srcId="{537D7A4C-6F1F-4BEC-9AF7-A2AAA13EB7FC}" destId="{E1A2F62C-45A4-4CA4-A950-429CDD7C32C0}" srcOrd="0" destOrd="1" presId="urn:microsoft.com/office/officeart/2005/8/layout/vList2"/>
    <dgm:cxn modelId="{747B80ED-9127-48E3-A6D8-C3F7B9A92D48}" srcId="{344CADBE-266E-45C1-A814-3419471FD827}" destId="{3EA91809-A7A4-4505-81E7-E931C7BBF1B1}" srcOrd="0" destOrd="0" parTransId="{36277635-4120-4335-8E41-9D3CFE22AB32}" sibTransId="{A5264F68-C276-4C8B-86BD-AF3E348C214F}"/>
    <dgm:cxn modelId="{B25B23A0-1B19-4C7E-BF90-BF19CE12052B}" srcId="{E5CE3223-1A6E-432B-9BF5-A29ACF7B661B}" destId="{344CADBE-266E-45C1-A814-3419471FD827}" srcOrd="3" destOrd="0" parTransId="{140D0917-9AED-4217-816F-37E47BCA4460}" sibTransId="{1FBD23DA-560E-4166-A7BA-08E3F4AFC5DA}"/>
    <dgm:cxn modelId="{534AF38F-77BA-44AB-BAFB-C691C8FEC788}" type="presOf" srcId="{E5CE3223-1A6E-432B-9BF5-A29ACF7B661B}" destId="{E0A5AB72-5CB5-4EED-ADCE-FF0570397A97}" srcOrd="0" destOrd="0" presId="urn:microsoft.com/office/officeart/2005/8/layout/vList2"/>
    <dgm:cxn modelId="{1AB76A8A-6778-4745-A91C-7D98AE5E0F50}" srcId="{E5CE3223-1A6E-432B-9BF5-A29ACF7B661B}" destId="{7E84962A-3131-47BB-A3AA-D3C9E6DC35B2}" srcOrd="0" destOrd="0" parTransId="{CAE50B03-1574-4774-8B4A-4FD5618ED7B9}" sibTransId="{404C32CF-778A-43E5-BCA8-0330F4B54BA1}"/>
    <dgm:cxn modelId="{A8E22C50-189F-4D2E-82DB-4F07C68A8651}" type="presOf" srcId="{8514172B-FC45-4B35-B07F-60F3755A2720}" destId="{C66F3746-3758-4D14-B2E1-5C11F73D4C26}" srcOrd="0" destOrd="0" presId="urn:microsoft.com/office/officeart/2005/8/layout/vList2"/>
    <dgm:cxn modelId="{F04746AA-7F1F-4218-9C91-5C9EA80E5B31}" srcId="{3768E424-5995-4A4C-AA08-A28A88DCD8AF}" destId="{54C82DC2-9289-4A43-AF29-8586849E41D4}" srcOrd="0" destOrd="0" parTransId="{89F8F0CA-4CD7-41BC-9D05-13577A69D19F}" sibTransId="{D365DD8F-6CFA-44AD-8836-A30665316978}"/>
    <dgm:cxn modelId="{BC790877-F4C9-46DB-A455-7CE819CC208F}" srcId="{8514172B-FC45-4B35-B07F-60F3755A2720}" destId="{60A86BE1-957B-4119-BD77-ED297A3CE16D}" srcOrd="1" destOrd="0" parTransId="{E9E87FE4-37B4-4EB8-A07E-87AEDA7EEDD6}" sibTransId="{E811DB64-A07E-4242-A191-642FAD3DB734}"/>
    <dgm:cxn modelId="{202EA0CF-A4AC-445B-98B9-BBBB1E00946A}" type="presOf" srcId="{3768E424-5995-4A4C-AA08-A28A88DCD8AF}" destId="{E9199926-1AEA-4922-BAFC-56A5737B6E27}" srcOrd="0" destOrd="0" presId="urn:microsoft.com/office/officeart/2005/8/layout/vList2"/>
    <dgm:cxn modelId="{9829DABC-C887-48F2-B439-6CA0DEDC6F77}" srcId="{7E84962A-3131-47BB-A3AA-D3C9E6DC35B2}" destId="{392B2FFF-7794-4D9E-8D97-53315A3B6ACD}" srcOrd="1" destOrd="0" parTransId="{644C3999-B823-4672-ABF7-010C2ED2F679}" sibTransId="{AB998647-9C21-4254-972E-72DBEDACFDE3}"/>
    <dgm:cxn modelId="{27ED82AF-599E-4D88-B1E7-937C4CF2DB57}" type="presOf" srcId="{00476023-886A-4E47-92EC-24164B03EA11}" destId="{4CC15D6D-AC6F-4CBD-B88D-484DB5128A36}" srcOrd="0" destOrd="1" presId="urn:microsoft.com/office/officeart/2005/8/layout/vList2"/>
    <dgm:cxn modelId="{924EBABD-CE88-4C9C-9096-DBA506E25289}" srcId="{7E84962A-3131-47BB-A3AA-D3C9E6DC35B2}" destId="{1A894410-F014-4764-9670-74CA65D76CB4}" srcOrd="0" destOrd="0" parTransId="{D2168BB5-3F17-4E39-A437-3A2A869B1BED}" sibTransId="{78EF60C6-3520-4A3E-B0A3-94311C82CE7C}"/>
    <dgm:cxn modelId="{CA023523-A4FE-4451-A0E7-DF295B759F9E}" type="presOf" srcId="{EFFCFD45-C172-44D6-866D-F9A104700EED}" destId="{C20F67A7-B949-41C5-9918-AEBE6D5B8A8B}" srcOrd="0" destOrd="0" presId="urn:microsoft.com/office/officeart/2005/8/layout/vList2"/>
    <dgm:cxn modelId="{4C0F775A-E552-457E-96F6-DA1594230201}" type="presParOf" srcId="{E0A5AB72-5CB5-4EED-ADCE-FF0570397A97}" destId="{CCCD42E9-EF16-4684-8397-3E0B7D953163}" srcOrd="0" destOrd="0" presId="urn:microsoft.com/office/officeart/2005/8/layout/vList2"/>
    <dgm:cxn modelId="{39A41F36-E8A2-4FEE-95C1-C2BB23744415}" type="presParOf" srcId="{E0A5AB72-5CB5-4EED-ADCE-FF0570397A97}" destId="{24AA9A3F-81DC-4623-B964-7A5111B983EE}" srcOrd="1" destOrd="0" presId="urn:microsoft.com/office/officeart/2005/8/layout/vList2"/>
    <dgm:cxn modelId="{BA451FF8-2902-4BE8-89A3-97B2A2A0948A}" type="presParOf" srcId="{E0A5AB72-5CB5-4EED-ADCE-FF0570397A97}" destId="{E9199926-1AEA-4922-BAFC-56A5737B6E27}" srcOrd="2" destOrd="0" presId="urn:microsoft.com/office/officeart/2005/8/layout/vList2"/>
    <dgm:cxn modelId="{22BE7075-F5DA-40D3-8719-7205ADC221AC}" type="presParOf" srcId="{E0A5AB72-5CB5-4EED-ADCE-FF0570397A97}" destId="{4CC15D6D-AC6F-4CBD-B88D-484DB5128A36}" srcOrd="3" destOrd="0" presId="urn:microsoft.com/office/officeart/2005/8/layout/vList2"/>
    <dgm:cxn modelId="{DAC8A8FC-1274-4469-A7B9-CB0EF492E404}" type="presParOf" srcId="{E0A5AB72-5CB5-4EED-ADCE-FF0570397A97}" destId="{C66F3746-3758-4D14-B2E1-5C11F73D4C26}" srcOrd="4" destOrd="0" presId="urn:microsoft.com/office/officeart/2005/8/layout/vList2"/>
    <dgm:cxn modelId="{21D915AB-95E8-455F-B56B-8F9A3DCEE84F}" type="presParOf" srcId="{E0A5AB72-5CB5-4EED-ADCE-FF0570397A97}" destId="{C20F67A7-B949-41C5-9918-AEBE6D5B8A8B}" srcOrd="5" destOrd="0" presId="urn:microsoft.com/office/officeart/2005/8/layout/vList2"/>
    <dgm:cxn modelId="{5468727A-DB80-427E-9816-34CF57B38F8A}" type="presParOf" srcId="{E0A5AB72-5CB5-4EED-ADCE-FF0570397A97}" destId="{77BCF8D9-4C5D-4D25-A69D-EFF6FE739DBF}" srcOrd="6" destOrd="0" presId="urn:microsoft.com/office/officeart/2005/8/layout/vList2"/>
    <dgm:cxn modelId="{770A4285-7BD3-4BE7-BAD4-F95BF1C262F5}" type="presParOf" srcId="{E0A5AB72-5CB5-4EED-ADCE-FF0570397A97}" destId="{E1A2F62C-45A4-4CA4-A950-429CDD7C32C0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E588C7-74F5-41BB-9556-20ED2C3CDDF2}">
      <dsp:nvSpPr>
        <dsp:cNvPr id="0" name=""/>
        <dsp:cNvSpPr/>
      </dsp:nvSpPr>
      <dsp:spPr>
        <a:xfrm>
          <a:off x="1538358" y="1581425"/>
          <a:ext cx="2844153" cy="284429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3700" kern="1200" dirty="0" smtClean="0"/>
            <a:t>Transition</a:t>
          </a:r>
        </a:p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3700" kern="1200" dirty="0" smtClean="0"/>
            <a:t>bas-carbone</a:t>
          </a:r>
          <a:endParaRPr lang="fr-BE" sz="3700" kern="1200" dirty="0"/>
        </a:p>
      </dsp:txBody>
      <dsp:txXfrm>
        <a:off x="1954875" y="1997962"/>
        <a:ext cx="2011119" cy="2011220"/>
      </dsp:txXfrm>
    </dsp:sp>
    <dsp:sp modelId="{8E6BE343-FF2B-4773-AEED-8B97DD99706E}">
      <dsp:nvSpPr>
        <dsp:cNvPr id="0" name=""/>
        <dsp:cNvSpPr/>
      </dsp:nvSpPr>
      <dsp:spPr>
        <a:xfrm>
          <a:off x="71669" y="0"/>
          <a:ext cx="5733344" cy="5976664"/>
        </a:xfrm>
        <a:prstGeom prst="blockArc">
          <a:avLst>
            <a:gd name="adj1" fmla="val 17527788"/>
            <a:gd name="adj2" fmla="val 4119114"/>
            <a:gd name="adj3" fmla="val 575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982A5B-B845-4BB4-9853-A64ED6EB8648}">
      <dsp:nvSpPr>
        <dsp:cNvPr id="0" name=""/>
        <dsp:cNvSpPr/>
      </dsp:nvSpPr>
      <dsp:spPr>
        <a:xfrm>
          <a:off x="4293287" y="503832"/>
          <a:ext cx="1523623" cy="1524049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05659F-9898-4DD3-A581-37F3843307D6}">
      <dsp:nvSpPr>
        <dsp:cNvPr id="0" name=""/>
        <dsp:cNvSpPr/>
      </dsp:nvSpPr>
      <dsp:spPr>
        <a:xfrm>
          <a:off x="5976673" y="432046"/>
          <a:ext cx="2564541" cy="1475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fr-BE" sz="1500" b="1" kern="1200" dirty="0" smtClean="0">
              <a:solidFill>
                <a:srgbClr val="FF0000"/>
              </a:solidFill>
            </a:rPr>
            <a:t>Mutation du système énergétique mondial </a:t>
          </a:r>
          <a:r>
            <a:rPr lang="fr-BE" sz="1500" kern="1200" dirty="0" smtClean="0"/>
            <a:t>(reco</a:t>
          </a:r>
          <a:r>
            <a:rPr lang="fr-BE" sz="1500" b="0" kern="1200" dirty="0" smtClean="0">
              <a:solidFill>
                <a:schemeClr val="tx1"/>
              </a:solidFill>
            </a:rPr>
            <a:t>urs systématique aux technologies bas-carbone, efficacité énergétique dans tous les secteurs, électrification, mutation des systèmes de transport)</a:t>
          </a:r>
        </a:p>
      </dsp:txBody>
      <dsp:txXfrm>
        <a:off x="5976673" y="432046"/>
        <a:ext cx="2564541" cy="1475040"/>
      </dsp:txXfrm>
    </dsp:sp>
    <dsp:sp modelId="{81CC1DCE-C43C-425C-835F-425F4D587F6D}">
      <dsp:nvSpPr>
        <dsp:cNvPr id="0" name=""/>
        <dsp:cNvSpPr/>
      </dsp:nvSpPr>
      <dsp:spPr>
        <a:xfrm>
          <a:off x="4882172" y="2237663"/>
          <a:ext cx="1523623" cy="1524049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D7F21D-C789-481D-883A-4307B93BA3C4}">
      <dsp:nvSpPr>
        <dsp:cNvPr id="0" name=""/>
        <dsp:cNvSpPr/>
      </dsp:nvSpPr>
      <dsp:spPr>
        <a:xfrm>
          <a:off x="6529861" y="2259178"/>
          <a:ext cx="2039429" cy="1475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fr-BE" sz="1700" kern="1200" dirty="0" smtClean="0"/>
            <a:t>Modes de </a:t>
          </a:r>
          <a:r>
            <a:rPr lang="fr-BE" sz="1700" b="1" kern="1200" dirty="0" smtClean="0">
              <a:solidFill>
                <a:srgbClr val="FF0000"/>
              </a:solidFill>
            </a:rPr>
            <a:t>production et de consommation durable</a:t>
          </a:r>
          <a:r>
            <a:rPr lang="fr-BE" sz="1700" kern="1200" dirty="0" smtClean="0"/>
            <a:t> (sobriété dans l’utilisation des ressources non-renouvelables)</a:t>
          </a:r>
          <a:endParaRPr lang="fr-BE" sz="1700" kern="1200" dirty="0"/>
        </a:p>
      </dsp:txBody>
      <dsp:txXfrm>
        <a:off x="6529861" y="2259178"/>
        <a:ext cx="2039429" cy="1475040"/>
      </dsp:txXfrm>
    </dsp:sp>
    <dsp:sp modelId="{6BB7DF3E-A4DA-43D4-8572-C38BBD9623E2}">
      <dsp:nvSpPr>
        <dsp:cNvPr id="0" name=""/>
        <dsp:cNvSpPr/>
      </dsp:nvSpPr>
      <dsp:spPr>
        <a:xfrm>
          <a:off x="4293287" y="3995997"/>
          <a:ext cx="1523623" cy="1524049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B4B146-DDFC-4F58-ADD4-9A4F54954EFF}">
      <dsp:nvSpPr>
        <dsp:cNvPr id="0" name=""/>
        <dsp:cNvSpPr/>
      </dsp:nvSpPr>
      <dsp:spPr>
        <a:xfrm>
          <a:off x="5953464" y="4069572"/>
          <a:ext cx="2039429" cy="1475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fr-BE" sz="1700" kern="1200" dirty="0" smtClean="0"/>
            <a:t>Utilisation durable du sol (</a:t>
          </a:r>
          <a:r>
            <a:rPr lang="fr-BE" sz="1700" b="1" kern="1200" dirty="0" err="1" smtClean="0">
              <a:solidFill>
                <a:srgbClr val="FF0000"/>
              </a:solidFill>
            </a:rPr>
            <a:t>agroécologie</a:t>
          </a:r>
          <a:r>
            <a:rPr lang="fr-BE" sz="1700" kern="1200" dirty="0" smtClean="0"/>
            <a:t>, </a:t>
          </a:r>
          <a:r>
            <a:rPr lang="fr-BE" sz="1700" b="1" kern="1200" dirty="0" smtClean="0">
              <a:solidFill>
                <a:srgbClr val="FF0000"/>
              </a:solidFill>
            </a:rPr>
            <a:t>arrêt de la déforestation</a:t>
          </a:r>
          <a:r>
            <a:rPr lang="fr-BE" sz="1700" kern="1200" dirty="0" smtClean="0"/>
            <a:t>) et </a:t>
          </a:r>
          <a:r>
            <a:rPr lang="fr-BE" sz="1700" b="1" kern="1200" dirty="0" smtClean="0">
              <a:solidFill>
                <a:srgbClr val="FF0000"/>
              </a:solidFill>
            </a:rPr>
            <a:t>urbanisation durable</a:t>
          </a:r>
          <a:endParaRPr lang="fr-BE" sz="1700" b="1" kern="1200" dirty="0">
            <a:solidFill>
              <a:srgbClr val="FF0000"/>
            </a:solidFill>
          </a:endParaRPr>
        </a:p>
      </dsp:txBody>
      <dsp:txXfrm>
        <a:off x="5953464" y="4069572"/>
        <a:ext cx="2039429" cy="14750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Liste d’images radiale"/>
  <dgm:desc val="Permet de représenter les relations par rapport à une idée centrale. La forme Niveau 1 contient du texte et toutes les formes Niveau 2 comprennent une image avec le texte correspondant. Limité à quatre formes Niveau 2.  Les images non utilisées n’apparaissent pas mais restent disponibles si vous changez de disposition. Utilisation optimale avec de petites quantités de texte Niveau 2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9A0206-7108-47DF-993C-D7CA3D488523}" type="datetimeFigureOut">
              <a:rPr lang="nl-BE" smtClean="0"/>
              <a:t>3/09/2015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A9E0CB-7429-4F99-B00F-BD49F3DC7969}" type="slidenum">
              <a:rPr lang="nl-BE" smtClean="0"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40299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ctrTitle"/>
          </p:nvPr>
        </p:nvSpPr>
        <p:spPr>
          <a:xfrm>
            <a:off x="3995936" y="1988841"/>
            <a:ext cx="5040560" cy="2659360"/>
          </a:xfrm>
          <a:prstGeom prst="rect">
            <a:avLst/>
          </a:prstGeom>
          <a:noFill/>
        </p:spPr>
        <p:txBody>
          <a:bodyPr vert="horz">
            <a:normAutofit/>
          </a:bodyPr>
          <a:lstStyle>
            <a:lvl1pPr algn="l">
              <a:defRPr sz="2800" b="1" cap="all" spc="150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subTitle" idx="1" hasCustomPrompt="1"/>
          </p:nvPr>
        </p:nvSpPr>
        <p:spPr>
          <a:xfrm>
            <a:off x="3995936" y="4768742"/>
            <a:ext cx="4999983" cy="460458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dirty="0" smtClean="0"/>
              <a:t>Click to add author information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923928" y="4697712"/>
            <a:ext cx="5161551" cy="274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rnd" cmpd="sng" algn="ctr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-36512" y="1"/>
            <a:ext cx="3923928" cy="6864049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34" r="22316"/>
          <a:stretch/>
        </p:blipFill>
        <p:spPr bwMode="auto">
          <a:xfrm>
            <a:off x="7615516" y="6206116"/>
            <a:ext cx="1535195" cy="65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36556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20339"/>
            <a:ext cx="9144000" cy="212934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115544"/>
            <a:ext cx="9144000" cy="609600"/>
          </a:xfrm>
          <a:prstGeom prst="rect">
            <a:avLst/>
          </a:prstGeom>
          <a:solidFill>
            <a:schemeClr val="accent6">
              <a:shade val="75000"/>
            </a:schemeClr>
          </a:solidFill>
          <a:ln w="25400" cap="rnd" cmpd="sng" algn="ctr">
            <a:noFill/>
            <a:prstDash val="soli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228600" y="4114800"/>
            <a:ext cx="8807896" cy="533400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algn="l">
              <a:defRPr sz="3200" b="1" cap="all" spc="150" baseline="0">
                <a:solidFill>
                  <a:schemeClr val="bg1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437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194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162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6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7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586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9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3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1333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797808"/>
              </p:ext>
            </p:extLst>
          </p:nvPr>
        </p:nvGraphicFramePr>
        <p:xfrm>
          <a:off x="0" y="0"/>
          <a:ext cx="158750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248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6295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5960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5D83A-4F03-4EAC-B878-8E4C330D4EBB}" type="slidenum">
              <a:rPr lang="en-GB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GB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059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/>
          <a:p>
            <a:endParaRPr lang="nl-BE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0982E-97E6-4E01-9CEB-6A0716D2B1BB}" type="slidenum">
              <a:rPr lang="nl-BE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nl-BE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604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33592"/>
            <a:ext cx="9144000" cy="212934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115544"/>
            <a:ext cx="9144000" cy="609600"/>
          </a:xfrm>
          <a:prstGeom prst="rect">
            <a:avLst/>
          </a:prstGeom>
          <a:solidFill>
            <a:schemeClr val="accent6">
              <a:shade val="75000"/>
            </a:schemeClr>
          </a:solidFill>
          <a:ln w="25400" cap="rnd" cmpd="sng" algn="ctr">
            <a:noFill/>
            <a:prstDash val="soli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228600" y="4114800"/>
            <a:ext cx="8807896" cy="533400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algn="l">
              <a:defRPr sz="3200" b="1" cap="all" spc="150" baseline="0">
                <a:solidFill>
                  <a:schemeClr val="bg1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57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8491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0858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1882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7001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>
            <a:lvl1pPr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A77299D-ADD0-4C78-A2CF-3A3519E91A43}" type="datetime1">
              <a:rPr lang="en-US">
                <a:solidFill>
                  <a:srgbClr val="2F2B20">
                    <a:tint val="75000"/>
                  </a:srgbClr>
                </a:solidFill>
              </a:rPr>
              <a:pPr/>
              <a:t>9/3/2015</a:t>
            </a:fld>
            <a:endParaRPr lang="en-US">
              <a:solidFill>
                <a:srgbClr val="2F2B2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F2B20">
                  <a:tint val="75000"/>
                </a:srgbClr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356350"/>
            <a:ext cx="21336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rgbClr val="2F2B20">
                    <a:tint val="75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2F2B2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643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7920038" cy="7207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55650" y="1557338"/>
            <a:ext cx="7993063" cy="3743325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11C8E-26A4-4A06-ADC4-D108C695A19D}" type="slidenum">
              <a:rPr lang="nl-NL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°›</a:t>
            </a:fld>
            <a:endParaRPr lang="nl-NL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4813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0"/>
            <a:ext cx="8077200" cy="420960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1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80772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ectangle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2" name="Rectangle 12"/>
          <p:cNvSpPr>
            <a:spLocks noGrp="1"/>
          </p:cNvSpPr>
          <p:nvPr>
            <p:ph type="ftr" sz="quarter" idx="18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5146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7"/>
          <p:cNvSpPr>
            <a:spLocks noGrp="1"/>
          </p:cNvSpPr>
          <p:nvPr>
            <p:ph type="body" sz="quarter" idx="13" hasCustomPrompt="1"/>
          </p:nvPr>
        </p:nvSpPr>
        <p:spPr>
          <a:xfrm>
            <a:off x="310896" y="3810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3" name="Rectangle 37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838200"/>
            <a:ext cx="7391400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1" name="Rectangle 37"/>
          <p:cNvSpPr>
            <a:spLocks noGrp="1"/>
          </p:cNvSpPr>
          <p:nvPr>
            <p:ph type="body" sz="quarter" idx="17" hasCustomPrompt="1"/>
          </p:nvPr>
        </p:nvSpPr>
        <p:spPr>
          <a:xfrm>
            <a:off x="310896" y="12954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5" name="Rectangle 37"/>
          <p:cNvSpPr>
            <a:spLocks noGrp="1"/>
          </p:cNvSpPr>
          <p:nvPr>
            <p:ph type="body" sz="quarter" idx="19" hasCustomPrompt="1"/>
          </p:nvPr>
        </p:nvSpPr>
        <p:spPr>
          <a:xfrm>
            <a:off x="310896" y="17526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 baseline="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7" name="Rectangle 37"/>
          <p:cNvSpPr>
            <a:spLocks noGrp="1"/>
          </p:cNvSpPr>
          <p:nvPr>
            <p:ph type="body" sz="quarter" idx="21" hasCustomPrompt="1"/>
          </p:nvPr>
        </p:nvSpPr>
        <p:spPr>
          <a:xfrm>
            <a:off x="310896" y="22098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 baseline="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9" name="Rectangle 37"/>
          <p:cNvSpPr>
            <a:spLocks noGrp="1"/>
          </p:cNvSpPr>
          <p:nvPr>
            <p:ph type="body" sz="quarter" idx="23" hasCustomPrompt="1"/>
          </p:nvPr>
        </p:nvSpPr>
        <p:spPr>
          <a:xfrm>
            <a:off x="310896" y="26670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1" name="Rectangle 37"/>
          <p:cNvSpPr>
            <a:spLocks noGrp="1"/>
          </p:cNvSpPr>
          <p:nvPr>
            <p:ph type="body" sz="quarter" idx="25" hasCustomPrompt="1"/>
          </p:nvPr>
        </p:nvSpPr>
        <p:spPr>
          <a:xfrm>
            <a:off x="310896" y="31242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3" name="Rectangle 37"/>
          <p:cNvSpPr>
            <a:spLocks noGrp="1"/>
          </p:cNvSpPr>
          <p:nvPr>
            <p:ph type="body" sz="quarter" idx="27" hasCustomPrompt="1"/>
          </p:nvPr>
        </p:nvSpPr>
        <p:spPr>
          <a:xfrm>
            <a:off x="310896" y="35814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5" name="Rectangle 37"/>
          <p:cNvSpPr>
            <a:spLocks noGrp="1"/>
          </p:cNvSpPr>
          <p:nvPr>
            <p:ph type="body" sz="quarter" idx="29" hasCustomPrompt="1"/>
          </p:nvPr>
        </p:nvSpPr>
        <p:spPr>
          <a:xfrm>
            <a:off x="310896" y="40386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 baseline="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7" name="Rectangle 37"/>
          <p:cNvSpPr>
            <a:spLocks noGrp="1"/>
          </p:cNvSpPr>
          <p:nvPr>
            <p:ph type="body" sz="quarter" idx="31" hasCustomPrompt="1"/>
          </p:nvPr>
        </p:nvSpPr>
        <p:spPr>
          <a:xfrm>
            <a:off x="310896" y="44958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26" name="Rectangle 37"/>
          <p:cNvSpPr>
            <a:spLocks noGrp="1"/>
          </p:cNvSpPr>
          <p:nvPr>
            <p:ph type="body" sz="quarter" idx="33" hasCustomPrompt="1"/>
          </p:nvPr>
        </p:nvSpPr>
        <p:spPr>
          <a:xfrm>
            <a:off x="310896" y="49530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28" name="Rectangle 37"/>
          <p:cNvSpPr>
            <a:spLocks noGrp="1"/>
          </p:cNvSpPr>
          <p:nvPr>
            <p:ph type="body" sz="quarter" idx="35" hasCustomPrompt="1"/>
          </p:nvPr>
        </p:nvSpPr>
        <p:spPr>
          <a:xfrm>
            <a:off x="310896" y="54102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98" name="Rectangle 37"/>
          <p:cNvSpPr>
            <a:spLocks noGrp="1"/>
          </p:cNvSpPr>
          <p:nvPr>
            <p:ph type="body" sz="quarter" idx="14" hasCustomPrompt="1"/>
          </p:nvPr>
        </p:nvSpPr>
        <p:spPr>
          <a:xfrm>
            <a:off x="7696200" y="3810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 dirty="0"/>
          </a:p>
        </p:txBody>
      </p:sp>
      <p:sp>
        <p:nvSpPr>
          <p:cNvPr id="44" name="Rectangle 37"/>
          <p:cNvSpPr>
            <a:spLocks noGrp="1"/>
          </p:cNvSpPr>
          <p:nvPr>
            <p:ph type="body" sz="quarter" idx="16" hasCustomPrompt="1"/>
          </p:nvPr>
        </p:nvSpPr>
        <p:spPr>
          <a:xfrm>
            <a:off x="7696200" y="8382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42" name="Rectangle 37"/>
          <p:cNvSpPr>
            <a:spLocks noGrp="1"/>
          </p:cNvSpPr>
          <p:nvPr>
            <p:ph type="body" sz="quarter" idx="18" hasCustomPrompt="1"/>
          </p:nvPr>
        </p:nvSpPr>
        <p:spPr>
          <a:xfrm>
            <a:off x="7696200" y="12954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46" name="Rectangle 37"/>
          <p:cNvSpPr>
            <a:spLocks noGrp="1"/>
          </p:cNvSpPr>
          <p:nvPr>
            <p:ph type="body" sz="quarter" idx="20" hasCustomPrompt="1"/>
          </p:nvPr>
        </p:nvSpPr>
        <p:spPr>
          <a:xfrm>
            <a:off x="7696200" y="17526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48" name="Rectangle 37"/>
          <p:cNvSpPr>
            <a:spLocks noGrp="1"/>
          </p:cNvSpPr>
          <p:nvPr>
            <p:ph type="body" sz="quarter" idx="22" hasCustomPrompt="1"/>
          </p:nvPr>
        </p:nvSpPr>
        <p:spPr>
          <a:xfrm>
            <a:off x="7696200" y="22098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0" name="Rectangle 37"/>
          <p:cNvSpPr>
            <a:spLocks noGrp="1"/>
          </p:cNvSpPr>
          <p:nvPr>
            <p:ph type="body" sz="quarter" idx="24" hasCustomPrompt="1"/>
          </p:nvPr>
        </p:nvSpPr>
        <p:spPr>
          <a:xfrm>
            <a:off x="7696200" y="26670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2" name="Rectangle 37"/>
          <p:cNvSpPr>
            <a:spLocks noGrp="1"/>
          </p:cNvSpPr>
          <p:nvPr>
            <p:ph type="body" sz="quarter" idx="26" hasCustomPrompt="1"/>
          </p:nvPr>
        </p:nvSpPr>
        <p:spPr>
          <a:xfrm>
            <a:off x="7696200" y="31242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4" name="Rectangle 37"/>
          <p:cNvSpPr>
            <a:spLocks noGrp="1"/>
          </p:cNvSpPr>
          <p:nvPr>
            <p:ph type="body" sz="quarter" idx="28" hasCustomPrompt="1"/>
          </p:nvPr>
        </p:nvSpPr>
        <p:spPr>
          <a:xfrm>
            <a:off x="7696200" y="35814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6" name="Rectangle 37"/>
          <p:cNvSpPr>
            <a:spLocks noGrp="1"/>
          </p:cNvSpPr>
          <p:nvPr>
            <p:ph type="body" sz="quarter" idx="30" hasCustomPrompt="1"/>
          </p:nvPr>
        </p:nvSpPr>
        <p:spPr>
          <a:xfrm>
            <a:off x="7696200" y="40386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8" name="Rectangle 37"/>
          <p:cNvSpPr>
            <a:spLocks noGrp="1"/>
          </p:cNvSpPr>
          <p:nvPr>
            <p:ph type="body" sz="quarter" idx="32" hasCustomPrompt="1"/>
          </p:nvPr>
        </p:nvSpPr>
        <p:spPr>
          <a:xfrm>
            <a:off x="7696200" y="44958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27" name="Rectangle 37"/>
          <p:cNvSpPr>
            <a:spLocks noGrp="1"/>
          </p:cNvSpPr>
          <p:nvPr>
            <p:ph type="body" sz="quarter" idx="34" hasCustomPrompt="1"/>
          </p:nvPr>
        </p:nvSpPr>
        <p:spPr>
          <a:xfrm>
            <a:off x="7696200" y="49530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29" name="Rectangle 37"/>
          <p:cNvSpPr>
            <a:spLocks noGrp="1"/>
          </p:cNvSpPr>
          <p:nvPr>
            <p:ph type="body" sz="quarter" idx="36" hasCustomPrompt="1"/>
          </p:nvPr>
        </p:nvSpPr>
        <p:spPr>
          <a:xfrm>
            <a:off x="7696200" y="54102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30" name="Rectangle 37"/>
          <p:cNvSpPr>
            <a:spLocks noGrp="1"/>
          </p:cNvSpPr>
          <p:nvPr>
            <p:ph type="body" sz="quarter" idx="37" hasCustomPrompt="1"/>
          </p:nvPr>
        </p:nvSpPr>
        <p:spPr>
          <a:xfrm>
            <a:off x="310896" y="58674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>
            <a:noAutofit/>
          </a:bodyPr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31" name="Rectangle 37"/>
          <p:cNvSpPr>
            <a:spLocks noGrp="1"/>
          </p:cNvSpPr>
          <p:nvPr>
            <p:ph type="body" sz="quarter" idx="38" hasCustomPrompt="1"/>
          </p:nvPr>
        </p:nvSpPr>
        <p:spPr>
          <a:xfrm>
            <a:off x="7696200" y="58674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33" name="Rectangle 33"/>
          <p:cNvSpPr>
            <a:spLocks noGrp="1"/>
          </p:cNvSpPr>
          <p:nvPr>
            <p:ph type="sldNum" sz="quarter" idx="40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34" name="Rectangle 34"/>
          <p:cNvSpPr>
            <a:spLocks noGrp="1"/>
          </p:cNvSpPr>
          <p:nvPr>
            <p:ph type="ftr" sz="quarter" idx="4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686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0"/>
            <a:ext cx="8077200" cy="420960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8" name="Rectangle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9" name="Rectangle 9"/>
          <p:cNvSpPr>
            <a:spLocks noGrp="1"/>
          </p:cNvSpPr>
          <p:nvPr>
            <p:ph type="ftr" sz="quarter" idx="16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61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9" name="Rectangle 9"/>
          <p:cNvSpPr>
            <a:spLocks noGrp="1"/>
          </p:cNvSpPr>
          <p:nvPr>
            <p:ph type="ftr" sz="quarter" idx="12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587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806"/>
          <a:stretch/>
        </p:blipFill>
        <p:spPr>
          <a:xfrm>
            <a:off x="0" y="4733593"/>
            <a:ext cx="9144000" cy="302234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115544"/>
            <a:ext cx="9144000" cy="609600"/>
          </a:xfrm>
          <a:prstGeom prst="rect">
            <a:avLst/>
          </a:prstGeom>
          <a:solidFill>
            <a:schemeClr val="accent6">
              <a:shade val="75000"/>
            </a:schemeClr>
          </a:solidFill>
          <a:ln w="25400" cap="rnd" cmpd="sng" algn="ctr">
            <a:noFill/>
            <a:prstDash val="soli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228600" y="4114800"/>
            <a:ext cx="8807896" cy="533400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algn="l">
              <a:defRPr sz="3200" b="1" cap="all" spc="150" baseline="0">
                <a:solidFill>
                  <a:schemeClr val="bg1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970" y="6488974"/>
            <a:ext cx="356143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531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4416552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5" name="Rectangle 11"/>
          <p:cNvSpPr>
            <a:spLocks noGrp="1"/>
          </p:cNvSpPr>
          <p:nvPr>
            <p:ph sz="quarter" idx="17"/>
          </p:nvPr>
        </p:nvSpPr>
        <p:spPr>
          <a:xfrm>
            <a:off x="4416552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Rectangle 1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7" name="Rectangle 17"/>
          <p:cNvSpPr>
            <a:spLocks noGrp="1"/>
          </p:cNvSpPr>
          <p:nvPr>
            <p:ph type="ftr" sz="quarter" idx="20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6799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: 2 left, 1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74704"/>
            <a:ext cx="3962400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8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212976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7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Rectangle 8"/>
          <p:cNvSpPr>
            <a:spLocks noGrp="1"/>
          </p:cNvSpPr>
          <p:nvPr>
            <p:ph type="body" sz="quarter" idx="18" hasCustomPrompt="1"/>
          </p:nvPr>
        </p:nvSpPr>
        <p:spPr>
          <a:xfrm>
            <a:off x="4416552" y="274704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1" name="Rectangle 11"/>
          <p:cNvSpPr>
            <a:spLocks noGrp="1"/>
          </p:cNvSpPr>
          <p:nvPr>
            <p:ph sz="quarter" idx="19"/>
          </p:nvPr>
        </p:nvSpPr>
        <p:spPr>
          <a:xfrm>
            <a:off x="4416552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Rectangle 1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2" name="Rectangle 22"/>
          <p:cNvSpPr>
            <a:spLocks noGrp="1"/>
          </p:cNvSpPr>
          <p:nvPr>
            <p:ph type="ftr" sz="quarter" idx="22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5471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: 1 Left, 2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4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44196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7" name="Rectangle 11"/>
          <p:cNvSpPr>
            <a:spLocks noGrp="1"/>
          </p:cNvSpPr>
          <p:nvPr>
            <p:ph sz="quarter" idx="17"/>
          </p:nvPr>
        </p:nvSpPr>
        <p:spPr>
          <a:xfrm>
            <a:off x="44196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Rectangle 8"/>
          <p:cNvSpPr>
            <a:spLocks noGrp="1"/>
          </p:cNvSpPr>
          <p:nvPr>
            <p:ph type="body" sz="quarter" idx="18" hasCustomPrompt="1"/>
          </p:nvPr>
        </p:nvSpPr>
        <p:spPr>
          <a:xfrm>
            <a:off x="44165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0" name="Rectangle 11"/>
          <p:cNvSpPr>
            <a:spLocks noGrp="1"/>
          </p:cNvSpPr>
          <p:nvPr>
            <p:ph sz="quarter" idx="19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Rectangle 2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3" name="Rectangle 23"/>
          <p:cNvSpPr>
            <a:spLocks noGrp="1"/>
          </p:cNvSpPr>
          <p:nvPr>
            <p:ph type="ftr" sz="quarter" idx="22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376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: 1 Top,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80772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5" name="Rectangle 11"/>
          <p:cNvSpPr>
            <a:spLocks noGrp="1"/>
          </p:cNvSpPr>
          <p:nvPr>
            <p:ph sz="quarter" idx="15"/>
          </p:nvPr>
        </p:nvSpPr>
        <p:spPr>
          <a:xfrm>
            <a:off x="301752" y="609600"/>
            <a:ext cx="8074152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8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Rectangle 8"/>
          <p:cNvSpPr>
            <a:spLocks noGrp="1"/>
          </p:cNvSpPr>
          <p:nvPr>
            <p:ph type="body" sz="quarter" idx="20" hasCustomPrompt="1"/>
          </p:nvPr>
        </p:nvSpPr>
        <p:spPr>
          <a:xfrm>
            <a:off x="44165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3" name="Rectangle 11"/>
          <p:cNvSpPr>
            <a:spLocks noGrp="1"/>
          </p:cNvSpPr>
          <p:nvPr>
            <p:ph sz="quarter" idx="21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Rectangle 2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2" name="Rectangle 22"/>
          <p:cNvSpPr>
            <a:spLocks noGrp="1"/>
          </p:cNvSpPr>
          <p:nvPr>
            <p:ph type="ftr" sz="quarter" idx="24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2719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74704"/>
            <a:ext cx="3962400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212976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0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Rectangle 8"/>
          <p:cNvSpPr>
            <a:spLocks noGrp="1"/>
          </p:cNvSpPr>
          <p:nvPr>
            <p:ph type="body" sz="quarter" idx="18" hasCustomPrompt="1"/>
          </p:nvPr>
        </p:nvSpPr>
        <p:spPr>
          <a:xfrm>
            <a:off x="4419600" y="274704"/>
            <a:ext cx="3962400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4196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Rectangle 8"/>
          <p:cNvSpPr>
            <a:spLocks noGrp="1"/>
          </p:cNvSpPr>
          <p:nvPr>
            <p:ph type="body" sz="quarter" idx="20" hasCustomPrompt="1"/>
          </p:nvPr>
        </p:nvSpPr>
        <p:spPr>
          <a:xfrm>
            <a:off x="4416552" y="3212976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6" name="Rectangle 11"/>
          <p:cNvSpPr>
            <a:spLocks noGrp="1"/>
          </p:cNvSpPr>
          <p:nvPr>
            <p:ph sz="quarter" idx="21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Rectangle 2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8" name="Rectangle 28"/>
          <p:cNvSpPr>
            <a:spLocks noGrp="1"/>
          </p:cNvSpPr>
          <p:nvPr>
            <p:ph type="ftr" sz="quarter" idx="24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299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: 1 Left, 3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44196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8" name="Rectangle 11"/>
          <p:cNvSpPr>
            <a:spLocks noGrp="1"/>
          </p:cNvSpPr>
          <p:nvPr>
            <p:ph sz="quarter" idx="16"/>
          </p:nvPr>
        </p:nvSpPr>
        <p:spPr>
          <a:xfrm>
            <a:off x="4419600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0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Rectangle 8"/>
          <p:cNvSpPr>
            <a:spLocks noGrp="1"/>
          </p:cNvSpPr>
          <p:nvPr>
            <p:ph type="body" sz="quarter" idx="17" hasCustomPrompt="1"/>
          </p:nvPr>
        </p:nvSpPr>
        <p:spPr>
          <a:xfrm>
            <a:off x="4416552" y="222051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3" name="Rectangle 11"/>
          <p:cNvSpPr>
            <a:spLocks noGrp="1"/>
          </p:cNvSpPr>
          <p:nvPr>
            <p:ph sz="quarter" idx="18"/>
          </p:nvPr>
        </p:nvSpPr>
        <p:spPr>
          <a:xfrm>
            <a:off x="4416552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4419600" y="417123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5" name="Rectangle 11"/>
          <p:cNvSpPr>
            <a:spLocks noGrp="1"/>
          </p:cNvSpPr>
          <p:nvPr>
            <p:ph sz="quarter" idx="20"/>
          </p:nvPr>
        </p:nvSpPr>
        <p:spPr>
          <a:xfrm>
            <a:off x="4419600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Rectangle 1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1" name="Rectangle 21"/>
          <p:cNvSpPr>
            <a:spLocks noGrp="1"/>
          </p:cNvSpPr>
          <p:nvPr>
            <p:ph type="ftr" sz="quarter" idx="23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025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: 3 Left, 1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4416552" y="381000"/>
            <a:ext cx="3965448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1" name="Rectangle 11"/>
          <p:cNvSpPr>
            <a:spLocks noGrp="1"/>
          </p:cNvSpPr>
          <p:nvPr>
            <p:ph sz="quarter" idx="15"/>
          </p:nvPr>
        </p:nvSpPr>
        <p:spPr>
          <a:xfrm>
            <a:off x="4416552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381000"/>
            <a:ext cx="3962400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0" name="Rectangle 11"/>
          <p:cNvSpPr>
            <a:spLocks noGrp="1"/>
          </p:cNvSpPr>
          <p:nvPr>
            <p:ph sz="quarter" idx="16"/>
          </p:nvPr>
        </p:nvSpPr>
        <p:spPr>
          <a:xfrm>
            <a:off x="304800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Rectangle 8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2340864"/>
            <a:ext cx="3962400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4" name="Rectangle 11"/>
          <p:cNvSpPr>
            <a:spLocks noGrp="1"/>
          </p:cNvSpPr>
          <p:nvPr>
            <p:ph sz="quarter" idx="18"/>
          </p:nvPr>
        </p:nvSpPr>
        <p:spPr>
          <a:xfrm>
            <a:off x="301752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4291584"/>
            <a:ext cx="3962400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6" name="Rectangle 11"/>
          <p:cNvSpPr>
            <a:spLocks noGrp="1"/>
          </p:cNvSpPr>
          <p:nvPr>
            <p:ph sz="quarter" idx="20"/>
          </p:nvPr>
        </p:nvSpPr>
        <p:spPr>
          <a:xfrm>
            <a:off x="304800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Rectangle 19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0" name="Rectangle 20"/>
          <p:cNvSpPr>
            <a:spLocks noGrp="1"/>
          </p:cNvSpPr>
          <p:nvPr>
            <p:ph type="ftr" sz="quarter" idx="23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7392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Up: 2 Left, 3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4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6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8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44196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9" name="Rectangle 11"/>
          <p:cNvSpPr>
            <a:spLocks noGrp="1"/>
          </p:cNvSpPr>
          <p:nvPr>
            <p:ph sz="quarter" idx="18"/>
          </p:nvPr>
        </p:nvSpPr>
        <p:spPr>
          <a:xfrm>
            <a:off x="4419600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1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4416552" y="222051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32" name="Rectangle 11"/>
          <p:cNvSpPr>
            <a:spLocks noGrp="1"/>
          </p:cNvSpPr>
          <p:nvPr>
            <p:ph sz="quarter" idx="20"/>
          </p:nvPr>
        </p:nvSpPr>
        <p:spPr>
          <a:xfrm>
            <a:off x="4416552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Rectangle 8"/>
          <p:cNvSpPr>
            <a:spLocks noGrp="1"/>
          </p:cNvSpPr>
          <p:nvPr>
            <p:ph type="body" sz="quarter" idx="21" hasCustomPrompt="1"/>
          </p:nvPr>
        </p:nvSpPr>
        <p:spPr>
          <a:xfrm>
            <a:off x="4419600" y="417123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34" name="Rectangle 11"/>
          <p:cNvSpPr>
            <a:spLocks noGrp="1"/>
          </p:cNvSpPr>
          <p:nvPr>
            <p:ph sz="quarter" idx="22"/>
          </p:nvPr>
        </p:nvSpPr>
        <p:spPr>
          <a:xfrm>
            <a:off x="4419600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Rectangle 1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8" name="Rectangle 18"/>
          <p:cNvSpPr>
            <a:spLocks noGrp="1"/>
          </p:cNvSpPr>
          <p:nvPr>
            <p:ph type="ftr" sz="quarter" idx="25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396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Up: 3 Left, 2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307848" y="202696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2" name="Rectangle 11"/>
          <p:cNvSpPr>
            <a:spLocks noGrp="1"/>
          </p:cNvSpPr>
          <p:nvPr>
            <p:ph sz="quarter" idx="16"/>
          </p:nvPr>
        </p:nvSpPr>
        <p:spPr>
          <a:xfrm>
            <a:off x="307848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Rectangle 8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2162560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6" name="Rectangle 11"/>
          <p:cNvSpPr>
            <a:spLocks noGrp="1"/>
          </p:cNvSpPr>
          <p:nvPr>
            <p:ph sz="quarter" idx="18"/>
          </p:nvPr>
        </p:nvSpPr>
        <p:spPr>
          <a:xfrm>
            <a:off x="304800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7848" y="4113280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8" name="Rectangle 11"/>
          <p:cNvSpPr>
            <a:spLocks noGrp="1"/>
          </p:cNvSpPr>
          <p:nvPr>
            <p:ph sz="quarter" idx="20"/>
          </p:nvPr>
        </p:nvSpPr>
        <p:spPr>
          <a:xfrm>
            <a:off x="307848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8"/>
          <p:cNvSpPr>
            <a:spLocks noGrp="1"/>
          </p:cNvSpPr>
          <p:nvPr>
            <p:ph type="body" sz="quarter" idx="21" hasCustomPrompt="1"/>
          </p:nvPr>
        </p:nvSpPr>
        <p:spPr>
          <a:xfrm>
            <a:off x="4419600" y="202696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3" name="Rectangle 11"/>
          <p:cNvSpPr>
            <a:spLocks noGrp="1"/>
          </p:cNvSpPr>
          <p:nvPr>
            <p:ph sz="quarter" idx="22"/>
          </p:nvPr>
        </p:nvSpPr>
        <p:spPr>
          <a:xfrm>
            <a:off x="44196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Rectangle 8"/>
          <p:cNvSpPr>
            <a:spLocks noGrp="1"/>
          </p:cNvSpPr>
          <p:nvPr>
            <p:ph type="body" sz="quarter" idx="23" hasCustomPrompt="1"/>
          </p:nvPr>
        </p:nvSpPr>
        <p:spPr>
          <a:xfrm>
            <a:off x="4416552" y="3140968"/>
            <a:ext cx="3965448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6" name="Rectangle 11"/>
          <p:cNvSpPr>
            <a:spLocks noGrp="1"/>
          </p:cNvSpPr>
          <p:nvPr>
            <p:ph sz="quarter" idx="24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Rectangle 18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3" name="Rectangle 23"/>
          <p:cNvSpPr>
            <a:spLocks noGrp="1"/>
          </p:cNvSpPr>
          <p:nvPr>
            <p:ph type="ftr" sz="quarter" idx="27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9829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ctrTitle"/>
          </p:nvPr>
        </p:nvSpPr>
        <p:spPr>
          <a:xfrm>
            <a:off x="3995936" y="1988840"/>
            <a:ext cx="5040560" cy="2659360"/>
          </a:xfrm>
          <a:prstGeom prst="rect">
            <a:avLst/>
          </a:prstGeom>
          <a:noFill/>
        </p:spPr>
        <p:txBody>
          <a:bodyPr vert="horz">
            <a:normAutofit/>
          </a:bodyPr>
          <a:lstStyle>
            <a:lvl1pPr algn="l">
              <a:defRPr sz="2800" b="1" cap="all" spc="150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subTitle" idx="1" hasCustomPrompt="1"/>
          </p:nvPr>
        </p:nvSpPr>
        <p:spPr>
          <a:xfrm>
            <a:off x="3995936" y="4768742"/>
            <a:ext cx="4999983" cy="460458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dirty="0" smtClean="0"/>
              <a:t>Click to add author information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923928" y="4697712"/>
            <a:ext cx="5161550" cy="274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rnd" cmpd="sng" algn="ctr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-36512" y="0"/>
            <a:ext cx="3923928" cy="6864049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34" r="22316"/>
          <a:stretch/>
        </p:blipFill>
        <p:spPr bwMode="auto">
          <a:xfrm>
            <a:off x="7615516" y="6206116"/>
            <a:ext cx="1535194" cy="65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911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/>
          </p:cNvSpPr>
          <p:nvPr>
            <p:ph idx="1"/>
          </p:nvPr>
        </p:nvSpPr>
        <p:spPr>
          <a:xfrm>
            <a:off x="304800" y="764704"/>
            <a:ext cx="8443664" cy="5904656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04800" y="188641"/>
            <a:ext cx="8299648" cy="5760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07274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20339"/>
            <a:ext cx="9144000" cy="212934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4115544"/>
            <a:ext cx="9144000" cy="609600"/>
          </a:xfrm>
          <a:prstGeom prst="rect">
            <a:avLst/>
          </a:prstGeom>
          <a:solidFill>
            <a:schemeClr val="accent6">
              <a:shade val="75000"/>
            </a:schemeClr>
          </a:solidFill>
          <a:ln w="25400" cap="rnd" cmpd="sng" algn="ctr">
            <a:noFill/>
            <a:prstDash val="soli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228600" y="4114800"/>
            <a:ext cx="8807896" cy="533400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algn="l">
              <a:defRPr sz="3200" b="1" cap="all" spc="150" baseline="0">
                <a:solidFill>
                  <a:schemeClr val="bg1"/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870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432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020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6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7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342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9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3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1467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75988"/>
              </p:ext>
            </p:extLst>
          </p:nvPr>
        </p:nvGraphicFramePr>
        <p:xfrm>
          <a:off x="0" y="0"/>
          <a:ext cx="158750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0867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69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3804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5D83A-4F03-4EAC-B878-8E4C330D4EBB}" type="slidenum">
              <a:rPr lang="en-GB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GB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5923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/>
          <a:p>
            <a:endParaRPr lang="nl-BE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0982E-97E6-4E01-9CEB-6A0716D2B1BB}" type="slidenum">
              <a:rPr lang="nl-BE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nl-BE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123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1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8672178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408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813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6440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4925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0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7554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>
            <a:lvl1pPr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A77299D-ADD0-4C78-A2CF-3A3519E91A43}" type="datetime1">
              <a:rPr lang="en-US">
                <a:solidFill>
                  <a:srgbClr val="2F2B20">
                    <a:tint val="75000"/>
                  </a:srgbClr>
                </a:solidFill>
              </a:rPr>
              <a:pPr/>
              <a:t>9/3/2015</a:t>
            </a:fld>
            <a:endParaRPr lang="en-US">
              <a:solidFill>
                <a:srgbClr val="2F2B2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F2B20">
                  <a:tint val="75000"/>
                </a:srgbClr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356350"/>
            <a:ext cx="21336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rgbClr val="2F2B20">
                    <a:tint val="75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2F2B2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80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7920038" cy="7207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55650" y="1557338"/>
            <a:ext cx="7993063" cy="3743325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011C8E-26A4-4A06-ADC4-D108C695A19D}" type="slidenum">
              <a:rPr lang="nl-NL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°›</a:t>
            </a:fld>
            <a:endParaRPr lang="nl-NL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1650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0"/>
            <a:ext cx="8077200" cy="420960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1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80772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ectangle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2" name="Rectangle 12"/>
          <p:cNvSpPr>
            <a:spLocks noGrp="1"/>
          </p:cNvSpPr>
          <p:nvPr>
            <p:ph type="ftr" sz="quarter" idx="18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2777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7"/>
          <p:cNvSpPr>
            <a:spLocks noGrp="1"/>
          </p:cNvSpPr>
          <p:nvPr>
            <p:ph type="body" sz="quarter" idx="13" hasCustomPrompt="1"/>
          </p:nvPr>
        </p:nvSpPr>
        <p:spPr>
          <a:xfrm>
            <a:off x="310896" y="3810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3" name="Rectangle 37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838200"/>
            <a:ext cx="7391400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1" name="Rectangle 37"/>
          <p:cNvSpPr>
            <a:spLocks noGrp="1"/>
          </p:cNvSpPr>
          <p:nvPr>
            <p:ph type="body" sz="quarter" idx="17" hasCustomPrompt="1"/>
          </p:nvPr>
        </p:nvSpPr>
        <p:spPr>
          <a:xfrm>
            <a:off x="310896" y="12954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5" name="Rectangle 37"/>
          <p:cNvSpPr>
            <a:spLocks noGrp="1"/>
          </p:cNvSpPr>
          <p:nvPr>
            <p:ph type="body" sz="quarter" idx="19" hasCustomPrompt="1"/>
          </p:nvPr>
        </p:nvSpPr>
        <p:spPr>
          <a:xfrm>
            <a:off x="310896" y="17526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 baseline="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7" name="Rectangle 37"/>
          <p:cNvSpPr>
            <a:spLocks noGrp="1"/>
          </p:cNvSpPr>
          <p:nvPr>
            <p:ph type="body" sz="quarter" idx="21" hasCustomPrompt="1"/>
          </p:nvPr>
        </p:nvSpPr>
        <p:spPr>
          <a:xfrm>
            <a:off x="310896" y="22098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 baseline="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49" name="Rectangle 37"/>
          <p:cNvSpPr>
            <a:spLocks noGrp="1"/>
          </p:cNvSpPr>
          <p:nvPr>
            <p:ph type="body" sz="quarter" idx="23" hasCustomPrompt="1"/>
          </p:nvPr>
        </p:nvSpPr>
        <p:spPr>
          <a:xfrm>
            <a:off x="310896" y="26670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1" name="Rectangle 37"/>
          <p:cNvSpPr>
            <a:spLocks noGrp="1"/>
          </p:cNvSpPr>
          <p:nvPr>
            <p:ph type="body" sz="quarter" idx="25" hasCustomPrompt="1"/>
          </p:nvPr>
        </p:nvSpPr>
        <p:spPr>
          <a:xfrm>
            <a:off x="310896" y="31242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3" name="Rectangle 37"/>
          <p:cNvSpPr>
            <a:spLocks noGrp="1"/>
          </p:cNvSpPr>
          <p:nvPr>
            <p:ph type="body" sz="quarter" idx="27" hasCustomPrompt="1"/>
          </p:nvPr>
        </p:nvSpPr>
        <p:spPr>
          <a:xfrm>
            <a:off x="310896" y="35814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5" name="Rectangle 37"/>
          <p:cNvSpPr>
            <a:spLocks noGrp="1"/>
          </p:cNvSpPr>
          <p:nvPr>
            <p:ph type="body" sz="quarter" idx="29" hasCustomPrompt="1"/>
          </p:nvPr>
        </p:nvSpPr>
        <p:spPr>
          <a:xfrm>
            <a:off x="310896" y="40386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 baseline="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57" name="Rectangle 37"/>
          <p:cNvSpPr>
            <a:spLocks noGrp="1"/>
          </p:cNvSpPr>
          <p:nvPr>
            <p:ph type="body" sz="quarter" idx="31" hasCustomPrompt="1"/>
          </p:nvPr>
        </p:nvSpPr>
        <p:spPr>
          <a:xfrm>
            <a:off x="310896" y="44958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26" name="Rectangle 37"/>
          <p:cNvSpPr>
            <a:spLocks noGrp="1"/>
          </p:cNvSpPr>
          <p:nvPr>
            <p:ph type="body" sz="quarter" idx="33" hasCustomPrompt="1"/>
          </p:nvPr>
        </p:nvSpPr>
        <p:spPr>
          <a:xfrm>
            <a:off x="310896" y="49530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28" name="Rectangle 37"/>
          <p:cNvSpPr>
            <a:spLocks noGrp="1"/>
          </p:cNvSpPr>
          <p:nvPr>
            <p:ph type="body" sz="quarter" idx="35" hasCustomPrompt="1"/>
          </p:nvPr>
        </p:nvSpPr>
        <p:spPr>
          <a:xfrm>
            <a:off x="310896" y="54102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/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98" name="Rectangle 37"/>
          <p:cNvSpPr>
            <a:spLocks noGrp="1"/>
          </p:cNvSpPr>
          <p:nvPr>
            <p:ph type="body" sz="quarter" idx="14" hasCustomPrompt="1"/>
          </p:nvPr>
        </p:nvSpPr>
        <p:spPr>
          <a:xfrm>
            <a:off x="7696200" y="3810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 dirty="0"/>
          </a:p>
        </p:txBody>
      </p:sp>
      <p:sp>
        <p:nvSpPr>
          <p:cNvPr id="44" name="Rectangle 37"/>
          <p:cNvSpPr>
            <a:spLocks noGrp="1"/>
          </p:cNvSpPr>
          <p:nvPr>
            <p:ph type="body" sz="quarter" idx="16" hasCustomPrompt="1"/>
          </p:nvPr>
        </p:nvSpPr>
        <p:spPr>
          <a:xfrm>
            <a:off x="7696200" y="8382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42" name="Rectangle 37"/>
          <p:cNvSpPr>
            <a:spLocks noGrp="1"/>
          </p:cNvSpPr>
          <p:nvPr>
            <p:ph type="body" sz="quarter" idx="18" hasCustomPrompt="1"/>
          </p:nvPr>
        </p:nvSpPr>
        <p:spPr>
          <a:xfrm>
            <a:off x="7696200" y="12954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46" name="Rectangle 37"/>
          <p:cNvSpPr>
            <a:spLocks noGrp="1"/>
          </p:cNvSpPr>
          <p:nvPr>
            <p:ph type="body" sz="quarter" idx="20" hasCustomPrompt="1"/>
          </p:nvPr>
        </p:nvSpPr>
        <p:spPr>
          <a:xfrm>
            <a:off x="7696200" y="17526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48" name="Rectangle 37"/>
          <p:cNvSpPr>
            <a:spLocks noGrp="1"/>
          </p:cNvSpPr>
          <p:nvPr>
            <p:ph type="body" sz="quarter" idx="22" hasCustomPrompt="1"/>
          </p:nvPr>
        </p:nvSpPr>
        <p:spPr>
          <a:xfrm>
            <a:off x="7696200" y="22098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0" name="Rectangle 37"/>
          <p:cNvSpPr>
            <a:spLocks noGrp="1"/>
          </p:cNvSpPr>
          <p:nvPr>
            <p:ph type="body" sz="quarter" idx="24" hasCustomPrompt="1"/>
          </p:nvPr>
        </p:nvSpPr>
        <p:spPr>
          <a:xfrm>
            <a:off x="7696200" y="26670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2" name="Rectangle 37"/>
          <p:cNvSpPr>
            <a:spLocks noGrp="1"/>
          </p:cNvSpPr>
          <p:nvPr>
            <p:ph type="body" sz="quarter" idx="26" hasCustomPrompt="1"/>
          </p:nvPr>
        </p:nvSpPr>
        <p:spPr>
          <a:xfrm>
            <a:off x="7696200" y="31242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4" name="Rectangle 37"/>
          <p:cNvSpPr>
            <a:spLocks noGrp="1"/>
          </p:cNvSpPr>
          <p:nvPr>
            <p:ph type="body" sz="quarter" idx="28" hasCustomPrompt="1"/>
          </p:nvPr>
        </p:nvSpPr>
        <p:spPr>
          <a:xfrm>
            <a:off x="7696200" y="35814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6" name="Rectangle 37"/>
          <p:cNvSpPr>
            <a:spLocks noGrp="1"/>
          </p:cNvSpPr>
          <p:nvPr>
            <p:ph type="body" sz="quarter" idx="30" hasCustomPrompt="1"/>
          </p:nvPr>
        </p:nvSpPr>
        <p:spPr>
          <a:xfrm>
            <a:off x="7696200" y="40386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58" name="Rectangle 37"/>
          <p:cNvSpPr>
            <a:spLocks noGrp="1"/>
          </p:cNvSpPr>
          <p:nvPr>
            <p:ph type="body" sz="quarter" idx="32" hasCustomPrompt="1"/>
          </p:nvPr>
        </p:nvSpPr>
        <p:spPr>
          <a:xfrm>
            <a:off x="7696200" y="44958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27" name="Rectangle 37"/>
          <p:cNvSpPr>
            <a:spLocks noGrp="1"/>
          </p:cNvSpPr>
          <p:nvPr>
            <p:ph type="body" sz="quarter" idx="34" hasCustomPrompt="1"/>
          </p:nvPr>
        </p:nvSpPr>
        <p:spPr>
          <a:xfrm>
            <a:off x="7696200" y="49530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29" name="Rectangle 37"/>
          <p:cNvSpPr>
            <a:spLocks noGrp="1"/>
          </p:cNvSpPr>
          <p:nvPr>
            <p:ph type="body" sz="quarter" idx="36" hasCustomPrompt="1"/>
          </p:nvPr>
        </p:nvSpPr>
        <p:spPr>
          <a:xfrm>
            <a:off x="7696200" y="54102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30" name="Rectangle 37"/>
          <p:cNvSpPr>
            <a:spLocks noGrp="1"/>
          </p:cNvSpPr>
          <p:nvPr>
            <p:ph type="body" sz="quarter" idx="37" hasCustomPrompt="1"/>
          </p:nvPr>
        </p:nvSpPr>
        <p:spPr>
          <a:xfrm>
            <a:off x="310896" y="5867400"/>
            <a:ext cx="7385304" cy="228600"/>
          </a:xfrm>
          <a:solidFill>
            <a:schemeClr val="tx2">
              <a:tint val="40000"/>
            </a:schemeClr>
          </a:solidFill>
        </p:spPr>
        <p:txBody>
          <a:bodyPr anchor="ctr">
            <a:noAutofit/>
          </a:bodyPr>
          <a:lstStyle>
            <a:lvl1pPr>
              <a:buFontTx/>
              <a:buNone/>
              <a:defRPr sz="1100"/>
            </a:lvl1pPr>
            <a:extLst/>
          </a:lstStyle>
          <a:p>
            <a:pPr lvl="0"/>
            <a:r>
              <a:rPr lang="en-US" dirty="0" smtClean="0"/>
              <a:t>Click to add agenda item</a:t>
            </a:r>
            <a:endParaRPr lang="en-US" dirty="0"/>
          </a:p>
        </p:txBody>
      </p:sp>
      <p:sp>
        <p:nvSpPr>
          <p:cNvPr id="31" name="Rectangle 37"/>
          <p:cNvSpPr>
            <a:spLocks noGrp="1"/>
          </p:cNvSpPr>
          <p:nvPr>
            <p:ph type="body" sz="quarter" idx="38" hasCustomPrompt="1"/>
          </p:nvPr>
        </p:nvSpPr>
        <p:spPr>
          <a:xfrm>
            <a:off x="7696200" y="5867400"/>
            <a:ext cx="685800" cy="228600"/>
          </a:xfrm>
          <a:solidFill>
            <a:schemeClr val="accent6">
              <a:shade val="75000"/>
            </a:schemeClr>
          </a:solidFill>
        </p:spPr>
        <p:txBody>
          <a:bodyPr anchor="ctr"/>
          <a:lstStyle>
            <a:lvl1pPr algn="r">
              <a:buFontTx/>
              <a:buNone/>
              <a:defRPr sz="1100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Page #</a:t>
            </a:r>
            <a:endParaRPr lang="en-US"/>
          </a:p>
        </p:txBody>
      </p:sp>
      <p:sp>
        <p:nvSpPr>
          <p:cNvPr id="33" name="Rectangle 33"/>
          <p:cNvSpPr>
            <a:spLocks noGrp="1"/>
          </p:cNvSpPr>
          <p:nvPr>
            <p:ph type="sldNum" sz="quarter" idx="40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34" name="Rectangle 34"/>
          <p:cNvSpPr>
            <a:spLocks noGrp="1"/>
          </p:cNvSpPr>
          <p:nvPr>
            <p:ph type="ftr" sz="quarter" idx="41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0626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88640"/>
            <a:ext cx="8077200" cy="420960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8" name="Rectangle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9" name="Rectangle 9"/>
          <p:cNvSpPr>
            <a:spLocks noGrp="1"/>
          </p:cNvSpPr>
          <p:nvPr>
            <p:ph type="ftr" sz="quarter" idx="16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1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9" name="Rectangle 9"/>
          <p:cNvSpPr>
            <a:spLocks noGrp="1"/>
          </p:cNvSpPr>
          <p:nvPr>
            <p:ph type="ftr" sz="quarter" idx="12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0244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6"/>
          <p:cNvSpPr>
            <a:spLocks noGrp="1"/>
          </p:cNvSpPr>
          <p:nvPr>
            <p:ph type="sldNum" sz="quarter" idx="4"/>
          </p:nvPr>
        </p:nvSpPr>
        <p:spPr>
          <a:xfrm>
            <a:off x="8672178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86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9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4416552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5" name="Rectangle 11"/>
          <p:cNvSpPr>
            <a:spLocks noGrp="1"/>
          </p:cNvSpPr>
          <p:nvPr>
            <p:ph sz="quarter" idx="17"/>
          </p:nvPr>
        </p:nvSpPr>
        <p:spPr>
          <a:xfrm>
            <a:off x="4416552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Rectangle 1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7" name="Rectangle 17"/>
          <p:cNvSpPr>
            <a:spLocks noGrp="1"/>
          </p:cNvSpPr>
          <p:nvPr>
            <p:ph type="ftr" sz="quarter" idx="20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24995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: 2 left, 1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74704"/>
            <a:ext cx="3962400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8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212976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7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Rectangle 8"/>
          <p:cNvSpPr>
            <a:spLocks noGrp="1"/>
          </p:cNvSpPr>
          <p:nvPr>
            <p:ph type="body" sz="quarter" idx="18" hasCustomPrompt="1"/>
          </p:nvPr>
        </p:nvSpPr>
        <p:spPr>
          <a:xfrm>
            <a:off x="4416552" y="274704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1" name="Rectangle 11"/>
          <p:cNvSpPr>
            <a:spLocks noGrp="1"/>
          </p:cNvSpPr>
          <p:nvPr>
            <p:ph sz="quarter" idx="19"/>
          </p:nvPr>
        </p:nvSpPr>
        <p:spPr>
          <a:xfrm>
            <a:off x="4416552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Rectangle 1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2" name="Rectangle 22"/>
          <p:cNvSpPr>
            <a:spLocks noGrp="1"/>
          </p:cNvSpPr>
          <p:nvPr>
            <p:ph type="ftr" sz="quarter" idx="22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7253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: 1 Left, 2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4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44196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7" name="Rectangle 11"/>
          <p:cNvSpPr>
            <a:spLocks noGrp="1"/>
          </p:cNvSpPr>
          <p:nvPr>
            <p:ph sz="quarter" idx="17"/>
          </p:nvPr>
        </p:nvSpPr>
        <p:spPr>
          <a:xfrm>
            <a:off x="44196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Rectangle 8"/>
          <p:cNvSpPr>
            <a:spLocks noGrp="1"/>
          </p:cNvSpPr>
          <p:nvPr>
            <p:ph type="body" sz="quarter" idx="18" hasCustomPrompt="1"/>
          </p:nvPr>
        </p:nvSpPr>
        <p:spPr>
          <a:xfrm>
            <a:off x="44165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0" name="Rectangle 11"/>
          <p:cNvSpPr>
            <a:spLocks noGrp="1"/>
          </p:cNvSpPr>
          <p:nvPr>
            <p:ph sz="quarter" idx="19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Rectangle 2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3" name="Rectangle 23"/>
          <p:cNvSpPr>
            <a:spLocks noGrp="1"/>
          </p:cNvSpPr>
          <p:nvPr>
            <p:ph type="ftr" sz="quarter" idx="22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2103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Up: 1 Top, 2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80772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5" name="Rectangle 11"/>
          <p:cNvSpPr>
            <a:spLocks noGrp="1"/>
          </p:cNvSpPr>
          <p:nvPr>
            <p:ph sz="quarter" idx="15"/>
          </p:nvPr>
        </p:nvSpPr>
        <p:spPr>
          <a:xfrm>
            <a:off x="301752" y="609600"/>
            <a:ext cx="8074152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8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Rectangle 8"/>
          <p:cNvSpPr>
            <a:spLocks noGrp="1"/>
          </p:cNvSpPr>
          <p:nvPr>
            <p:ph type="body" sz="quarter" idx="20" hasCustomPrompt="1"/>
          </p:nvPr>
        </p:nvSpPr>
        <p:spPr>
          <a:xfrm>
            <a:off x="44165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3" name="Rectangle 11"/>
          <p:cNvSpPr>
            <a:spLocks noGrp="1"/>
          </p:cNvSpPr>
          <p:nvPr>
            <p:ph sz="quarter" idx="21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Rectangle 2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2" name="Rectangle 22"/>
          <p:cNvSpPr>
            <a:spLocks noGrp="1"/>
          </p:cNvSpPr>
          <p:nvPr>
            <p:ph type="ftr" sz="quarter" idx="24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6841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74704"/>
            <a:ext cx="3962400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212976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0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Rectangle 8"/>
          <p:cNvSpPr>
            <a:spLocks noGrp="1"/>
          </p:cNvSpPr>
          <p:nvPr>
            <p:ph type="body" sz="quarter" idx="18" hasCustomPrompt="1"/>
          </p:nvPr>
        </p:nvSpPr>
        <p:spPr>
          <a:xfrm>
            <a:off x="4419600" y="274704"/>
            <a:ext cx="3962400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4196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Rectangle 8"/>
          <p:cNvSpPr>
            <a:spLocks noGrp="1"/>
          </p:cNvSpPr>
          <p:nvPr>
            <p:ph type="body" sz="quarter" idx="20" hasCustomPrompt="1"/>
          </p:nvPr>
        </p:nvSpPr>
        <p:spPr>
          <a:xfrm>
            <a:off x="4416552" y="3212976"/>
            <a:ext cx="3965448" cy="334896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6" name="Rectangle 11"/>
          <p:cNvSpPr>
            <a:spLocks noGrp="1"/>
          </p:cNvSpPr>
          <p:nvPr>
            <p:ph sz="quarter" idx="21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Rectangle 2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8" name="Rectangle 28"/>
          <p:cNvSpPr>
            <a:spLocks noGrp="1"/>
          </p:cNvSpPr>
          <p:nvPr>
            <p:ph type="ftr" sz="quarter" idx="24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0296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: 1 Left, 3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44196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8" name="Rectangle 11"/>
          <p:cNvSpPr>
            <a:spLocks noGrp="1"/>
          </p:cNvSpPr>
          <p:nvPr>
            <p:ph sz="quarter" idx="16"/>
          </p:nvPr>
        </p:nvSpPr>
        <p:spPr>
          <a:xfrm>
            <a:off x="4419600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0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Rectangle 8"/>
          <p:cNvSpPr>
            <a:spLocks noGrp="1"/>
          </p:cNvSpPr>
          <p:nvPr>
            <p:ph type="body" sz="quarter" idx="17" hasCustomPrompt="1"/>
          </p:nvPr>
        </p:nvSpPr>
        <p:spPr>
          <a:xfrm>
            <a:off x="4416552" y="222051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3" name="Rectangle 11"/>
          <p:cNvSpPr>
            <a:spLocks noGrp="1"/>
          </p:cNvSpPr>
          <p:nvPr>
            <p:ph sz="quarter" idx="18"/>
          </p:nvPr>
        </p:nvSpPr>
        <p:spPr>
          <a:xfrm>
            <a:off x="4416552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4419600" y="417123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5" name="Rectangle 11"/>
          <p:cNvSpPr>
            <a:spLocks noGrp="1"/>
          </p:cNvSpPr>
          <p:nvPr>
            <p:ph sz="quarter" idx="20"/>
          </p:nvPr>
        </p:nvSpPr>
        <p:spPr>
          <a:xfrm>
            <a:off x="4419600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Rectangle 1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1" name="Rectangle 21"/>
          <p:cNvSpPr>
            <a:spLocks noGrp="1"/>
          </p:cNvSpPr>
          <p:nvPr>
            <p:ph type="ftr" sz="quarter" idx="23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9028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: 3 Left, 1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4416552" y="381000"/>
            <a:ext cx="3965448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1" name="Rectangle 11"/>
          <p:cNvSpPr>
            <a:spLocks noGrp="1"/>
          </p:cNvSpPr>
          <p:nvPr>
            <p:ph sz="quarter" idx="15"/>
          </p:nvPr>
        </p:nvSpPr>
        <p:spPr>
          <a:xfrm>
            <a:off x="4416552" y="609600"/>
            <a:ext cx="39624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381000"/>
            <a:ext cx="3962400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0" name="Rectangle 11"/>
          <p:cNvSpPr>
            <a:spLocks noGrp="1"/>
          </p:cNvSpPr>
          <p:nvPr>
            <p:ph sz="quarter" idx="16"/>
          </p:nvPr>
        </p:nvSpPr>
        <p:spPr>
          <a:xfrm>
            <a:off x="304800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Rectangle 8"/>
          <p:cNvSpPr>
            <a:spLocks noGrp="1"/>
          </p:cNvSpPr>
          <p:nvPr>
            <p:ph type="body" sz="quarter" idx="17" hasCustomPrompt="1"/>
          </p:nvPr>
        </p:nvSpPr>
        <p:spPr>
          <a:xfrm>
            <a:off x="301752" y="2340864"/>
            <a:ext cx="3962400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4" name="Rectangle 11"/>
          <p:cNvSpPr>
            <a:spLocks noGrp="1"/>
          </p:cNvSpPr>
          <p:nvPr>
            <p:ph sz="quarter" idx="18"/>
          </p:nvPr>
        </p:nvSpPr>
        <p:spPr>
          <a:xfrm>
            <a:off x="301752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4291584"/>
            <a:ext cx="3962400" cy="228600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6" name="Rectangle 11"/>
          <p:cNvSpPr>
            <a:spLocks noGrp="1"/>
          </p:cNvSpPr>
          <p:nvPr>
            <p:ph sz="quarter" idx="20"/>
          </p:nvPr>
        </p:nvSpPr>
        <p:spPr>
          <a:xfrm>
            <a:off x="304800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Rectangle 19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0" name="Rectangle 20"/>
          <p:cNvSpPr>
            <a:spLocks noGrp="1"/>
          </p:cNvSpPr>
          <p:nvPr>
            <p:ph type="ftr" sz="quarter" idx="23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6403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Up: 2 Left, 3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4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5" name="Rectangle 8"/>
          <p:cNvSpPr>
            <a:spLocks noGrp="1"/>
          </p:cNvSpPr>
          <p:nvPr>
            <p:ph type="body" sz="quarter" idx="16" hasCustomPrompt="1"/>
          </p:nvPr>
        </p:nvSpPr>
        <p:spPr>
          <a:xfrm>
            <a:off x="301752" y="3198920"/>
            <a:ext cx="3965448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26" name="Rectangle 11"/>
          <p:cNvSpPr>
            <a:spLocks noGrp="1"/>
          </p:cNvSpPr>
          <p:nvPr>
            <p:ph sz="quarter" idx="17"/>
          </p:nvPr>
        </p:nvSpPr>
        <p:spPr>
          <a:xfrm>
            <a:off x="3017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8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4419600" y="260648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9" name="Rectangle 11"/>
          <p:cNvSpPr>
            <a:spLocks noGrp="1"/>
          </p:cNvSpPr>
          <p:nvPr>
            <p:ph sz="quarter" idx="18"/>
          </p:nvPr>
        </p:nvSpPr>
        <p:spPr>
          <a:xfrm>
            <a:off x="4419600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1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4416552" y="222051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32" name="Rectangle 11"/>
          <p:cNvSpPr>
            <a:spLocks noGrp="1"/>
          </p:cNvSpPr>
          <p:nvPr>
            <p:ph sz="quarter" idx="20"/>
          </p:nvPr>
        </p:nvSpPr>
        <p:spPr>
          <a:xfrm>
            <a:off x="4416552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Rectangle 8"/>
          <p:cNvSpPr>
            <a:spLocks noGrp="1"/>
          </p:cNvSpPr>
          <p:nvPr>
            <p:ph type="body" sz="quarter" idx="21" hasCustomPrompt="1"/>
          </p:nvPr>
        </p:nvSpPr>
        <p:spPr>
          <a:xfrm>
            <a:off x="4419600" y="4171232"/>
            <a:ext cx="3962400" cy="348952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34" name="Rectangle 11"/>
          <p:cNvSpPr>
            <a:spLocks noGrp="1"/>
          </p:cNvSpPr>
          <p:nvPr>
            <p:ph sz="quarter" idx="22"/>
          </p:nvPr>
        </p:nvSpPr>
        <p:spPr>
          <a:xfrm>
            <a:off x="4419600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Rectangle 1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8" name="Rectangle 18"/>
          <p:cNvSpPr>
            <a:spLocks noGrp="1"/>
          </p:cNvSpPr>
          <p:nvPr>
            <p:ph type="ftr" sz="quarter" idx="25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3828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Up: 3 Left, 2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8"/>
          <p:cNvSpPr>
            <a:spLocks noGrp="1"/>
          </p:cNvSpPr>
          <p:nvPr>
            <p:ph type="body" sz="quarter" idx="14" hasCustomPrompt="1"/>
          </p:nvPr>
        </p:nvSpPr>
        <p:spPr>
          <a:xfrm>
            <a:off x="307848" y="202696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2" name="Rectangle 11"/>
          <p:cNvSpPr>
            <a:spLocks noGrp="1"/>
          </p:cNvSpPr>
          <p:nvPr>
            <p:ph sz="quarter" idx="16"/>
          </p:nvPr>
        </p:nvSpPr>
        <p:spPr>
          <a:xfrm>
            <a:off x="307848" y="609600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Rectangle 8"/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2162560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6" name="Rectangle 11"/>
          <p:cNvSpPr>
            <a:spLocks noGrp="1"/>
          </p:cNvSpPr>
          <p:nvPr>
            <p:ph sz="quarter" idx="18"/>
          </p:nvPr>
        </p:nvSpPr>
        <p:spPr>
          <a:xfrm>
            <a:off x="304800" y="256946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7848" y="4113280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28" name="Rectangle 11"/>
          <p:cNvSpPr>
            <a:spLocks noGrp="1"/>
          </p:cNvSpPr>
          <p:nvPr>
            <p:ph sz="quarter" idx="20"/>
          </p:nvPr>
        </p:nvSpPr>
        <p:spPr>
          <a:xfrm>
            <a:off x="307848" y="4520184"/>
            <a:ext cx="3962400" cy="172821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8"/>
          <p:cNvSpPr>
            <a:spLocks noGrp="1"/>
          </p:cNvSpPr>
          <p:nvPr>
            <p:ph type="body" sz="quarter" idx="21" hasCustomPrompt="1"/>
          </p:nvPr>
        </p:nvSpPr>
        <p:spPr>
          <a:xfrm>
            <a:off x="4419600" y="202696"/>
            <a:ext cx="3962400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3" name="Rectangle 11"/>
          <p:cNvSpPr>
            <a:spLocks noGrp="1"/>
          </p:cNvSpPr>
          <p:nvPr>
            <p:ph sz="quarter" idx="22"/>
          </p:nvPr>
        </p:nvSpPr>
        <p:spPr>
          <a:xfrm>
            <a:off x="4419600" y="609600"/>
            <a:ext cx="3962400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Rectangle 8"/>
          <p:cNvSpPr>
            <a:spLocks noGrp="1"/>
          </p:cNvSpPr>
          <p:nvPr>
            <p:ph type="body" sz="quarter" idx="23" hasCustomPrompt="1"/>
          </p:nvPr>
        </p:nvSpPr>
        <p:spPr>
          <a:xfrm>
            <a:off x="4416552" y="3140968"/>
            <a:ext cx="3965448" cy="406904"/>
          </a:xfrm>
          <a:solidFill>
            <a:schemeClr val="accent6">
              <a:shade val="75000"/>
            </a:schemeClr>
          </a:solidFill>
        </p:spPr>
        <p:txBody>
          <a:bodyPr anchor="ctr"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/>
          </a:p>
        </p:txBody>
      </p:sp>
      <p:sp>
        <p:nvSpPr>
          <p:cNvPr id="16" name="Rectangle 11"/>
          <p:cNvSpPr>
            <a:spLocks noGrp="1"/>
          </p:cNvSpPr>
          <p:nvPr>
            <p:ph sz="quarter" idx="24"/>
          </p:nvPr>
        </p:nvSpPr>
        <p:spPr>
          <a:xfrm>
            <a:off x="4416552" y="3547872"/>
            <a:ext cx="3965448" cy="2706624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Rectangle 18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lang="en-US" sz="1000" smtClean="0">
                <a:solidFill>
                  <a:srgbClr val="EEECE1">
                    <a:lumMod val="10000"/>
                  </a:srgbClr>
                </a:solidFill>
              </a:rPr>
              <a:pPr algn="r"/>
              <a:t>‹N°›</a:t>
            </a:fld>
            <a:endParaRPr lang="en-US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23" name="Rectangle 23"/>
          <p:cNvSpPr>
            <a:spLocks noGrp="1"/>
          </p:cNvSpPr>
          <p:nvPr>
            <p:ph type="ftr" sz="quarter" idx="27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457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/>
          <p:cNvSpPr>
            <a:spLocks noGrp="1"/>
          </p:cNvSpPr>
          <p:nvPr>
            <p:ph type="sldNum" sz="quarter" idx="4"/>
          </p:nvPr>
        </p:nvSpPr>
        <p:spPr>
          <a:xfrm>
            <a:off x="8672178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6" name="Rectangle 8"/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188641"/>
            <a:ext cx="8299648" cy="504056"/>
          </a:xfrm>
          <a:noFill/>
        </p:spPr>
        <p:txBody>
          <a:bodyPr anchor="ctr">
            <a:noAutofit/>
          </a:bodyPr>
          <a:lstStyle>
            <a:lvl1pPr>
              <a:defRPr sz="2800" b="1">
                <a:solidFill>
                  <a:srgbClr val="475A8D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7" name="Rectangle 3"/>
          <p:cNvSpPr>
            <a:spLocks noGrp="1"/>
          </p:cNvSpPr>
          <p:nvPr>
            <p:ph idx="1"/>
          </p:nvPr>
        </p:nvSpPr>
        <p:spPr>
          <a:xfrm>
            <a:off x="304800" y="692696"/>
            <a:ext cx="8443664" cy="5976664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7082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8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168391"/>
            <a:ext cx="8077200" cy="445477"/>
          </a:xfrm>
          <a:solidFill>
            <a:schemeClr val="accent6">
              <a:shade val="75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extLst/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11" name="Rectangle 11"/>
          <p:cNvSpPr>
            <a:spLocks noGrp="1"/>
          </p:cNvSpPr>
          <p:nvPr>
            <p:ph sz="quarter" idx="15"/>
          </p:nvPr>
        </p:nvSpPr>
        <p:spPr>
          <a:xfrm>
            <a:off x="304800" y="609600"/>
            <a:ext cx="8077200" cy="56388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9"/>
          <p:cNvSpPr>
            <a:spLocks noGrp="1"/>
          </p:cNvSpPr>
          <p:nvPr>
            <p:ph type="dt" sz="half" idx="16"/>
          </p:nvPr>
        </p:nvSpPr>
        <p:spPr>
          <a:xfrm>
            <a:off x="323528" y="6515075"/>
            <a:ext cx="1371600" cy="228600"/>
          </a:xfrm>
          <a:prstGeom prst="rect">
            <a:avLst/>
          </a:prstGeom>
        </p:spPr>
        <p:txBody>
          <a:bodyPr/>
          <a:lstStyle>
            <a:extLst/>
          </a:lstStyle>
          <a:p>
            <a:fld id="{E78C4413-CBF9-4F60-9790-D96915691658}" type="datetimeFigureOut">
              <a:rPr lang="nl-BE" smtClean="0"/>
              <a:t>3/09/2015</a:t>
            </a:fld>
            <a:endParaRPr lang="nl-BE"/>
          </a:p>
        </p:txBody>
      </p:sp>
      <p:sp>
        <p:nvSpPr>
          <p:cNvPr id="10" name="Rectangle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fld id="{37C949F9-2D7E-43A5-9231-FEEBB3D41DCC}" type="slidenum">
              <a:rPr lang="nl-BE" smtClean="0"/>
              <a:t>‹N°›</a:t>
            </a:fld>
            <a:endParaRPr lang="nl-BE"/>
          </a:p>
        </p:txBody>
      </p:sp>
      <p:sp>
        <p:nvSpPr>
          <p:cNvPr id="12" name="Rectangle 12"/>
          <p:cNvSpPr>
            <a:spLocks noGrp="1"/>
          </p:cNvSpPr>
          <p:nvPr>
            <p:ph type="ftr" sz="quarter" idx="18"/>
          </p:nvPr>
        </p:nvSpPr>
        <p:spPr>
          <a:xfrm>
            <a:off x="2705100" y="6477000"/>
            <a:ext cx="3733800" cy="304800"/>
          </a:xfrm>
          <a:prstGeom prst="rect">
            <a:avLst/>
          </a:prstGeom>
        </p:spPr>
        <p:txBody>
          <a:bodyPr/>
          <a:lstStyle>
            <a:extLst/>
          </a:lstStyle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2733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ctrTitle"/>
          </p:nvPr>
        </p:nvSpPr>
        <p:spPr>
          <a:xfrm>
            <a:off x="3995936" y="1988840"/>
            <a:ext cx="5040560" cy="2659360"/>
          </a:xfrm>
          <a:prstGeom prst="rect">
            <a:avLst/>
          </a:prstGeom>
          <a:noFill/>
        </p:spPr>
        <p:txBody>
          <a:bodyPr vert="horz">
            <a:normAutofit/>
          </a:bodyPr>
          <a:lstStyle>
            <a:lvl1pPr algn="l">
              <a:defRPr sz="2800" b="1" cap="all" spc="150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subTitle" idx="1" hasCustomPrompt="1"/>
          </p:nvPr>
        </p:nvSpPr>
        <p:spPr>
          <a:xfrm>
            <a:off x="3995936" y="4768742"/>
            <a:ext cx="4999983" cy="460458"/>
          </a:xfrm>
          <a:solidFill>
            <a:schemeClr val="bg1"/>
          </a:solidFill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dirty="0" smtClean="0"/>
              <a:t>Click to add author information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923928" y="4697712"/>
            <a:ext cx="5161550" cy="274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rnd" cmpd="sng" algn="ctr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-36512" y="0"/>
            <a:ext cx="3923928" cy="6864049"/>
          </a:xfrm>
          <a:prstGeom prst="rect">
            <a:avLst/>
          </a:prstGeom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34" r="22316"/>
          <a:stretch/>
        </p:blipFill>
        <p:spPr bwMode="auto">
          <a:xfrm>
            <a:off x="7615516" y="6206116"/>
            <a:ext cx="1535194" cy="65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0000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image" Target="../media/image1.jpeg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image" Target="../media/image1.jpeg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79472" y="1"/>
            <a:ext cx="501040" cy="6872132"/>
          </a:xfrm>
          <a:prstGeom prst="rect">
            <a:avLst/>
          </a:prstGeom>
        </p:spPr>
      </p:pic>
      <p:sp>
        <p:nvSpPr>
          <p:cNvPr id="3" name="Rectangle 3"/>
          <p:cNvSpPr>
            <a:spLocks noGrp="1"/>
          </p:cNvSpPr>
          <p:nvPr>
            <p:ph type="body" idx="1"/>
          </p:nvPr>
        </p:nvSpPr>
        <p:spPr>
          <a:xfrm>
            <a:off x="323528" y="764704"/>
            <a:ext cx="8443664" cy="5904656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6"/>
          <p:cNvSpPr>
            <a:spLocks noGrp="1"/>
          </p:cNvSpPr>
          <p:nvPr>
            <p:ph type="sldNum" sz="quarter" idx="4"/>
          </p:nvPr>
        </p:nvSpPr>
        <p:spPr>
          <a:xfrm>
            <a:off x="8672178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rnd" cmpd="sng" algn="ctr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pic>
        <p:nvPicPr>
          <p:cNvPr id="17416" name="Picture 8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970" y="6488974"/>
            <a:ext cx="356143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8641"/>
            <a:ext cx="8299648" cy="5760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3468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41" r:id="rId3"/>
    <p:sldLayoutId id="2147483675" r:id="rId4"/>
    <p:sldLayoutId id="2147483663" r:id="rId5"/>
    <p:sldLayoutId id="2147483664" r:id="rId6"/>
    <p:sldLayoutId id="2147483665" r:id="rId7"/>
    <p:sldLayoutId id="214748373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sz="2800" b="1" cap="none" spc="0" baseline="0">
          <a:solidFill>
            <a:srgbClr val="475A8D"/>
          </a:solidFill>
          <a:latin typeface="+mj-lt"/>
          <a:ea typeface="+mj-ea"/>
          <a:cs typeface="+mj-cs"/>
        </a:defRPr>
      </a:lvl1pPr>
      <a:extLst/>
    </p:titleStyle>
    <p:bodyStyle>
      <a:lvl1pPr marL="0" marR="0" indent="0" algn="l" rtl="0" eaLnBrk="1" latinLnBrk="0" hangingPunct="1">
        <a:spcBef>
          <a:spcPct val="20000"/>
        </a:spcBef>
        <a:buFontTx/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719138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082675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/>
          </p:cNvSpPr>
          <p:nvPr>
            <p:ph type="body" idx="1"/>
          </p:nvPr>
        </p:nvSpPr>
        <p:spPr>
          <a:xfrm>
            <a:off x="304800" y="548680"/>
            <a:ext cx="8443664" cy="612068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6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rnd" cmpd="sng" algn="ctr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79472" y="8083"/>
            <a:ext cx="501040" cy="6864049"/>
          </a:xfrm>
          <a:prstGeom prst="rect">
            <a:avLst/>
          </a:prstGeom>
        </p:spPr>
      </p:pic>
      <p:pic>
        <p:nvPicPr>
          <p:cNvPr id="17416" name="Picture 8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969" y="6488974"/>
            <a:ext cx="356143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520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sz="2400" cap="small" spc="0" baseline="0">
          <a:solidFill>
            <a:schemeClr val="bg1"/>
          </a:solidFill>
          <a:latin typeface="+mj-lt"/>
          <a:ea typeface="+mj-ea"/>
          <a:cs typeface="+mj-cs"/>
        </a:defRPr>
      </a:lvl1pPr>
      <a:extLst/>
    </p:titleStyle>
    <p:bodyStyle>
      <a:lvl1pPr marL="0" marR="0" indent="0" algn="l" rtl="0" eaLnBrk="1" latinLnBrk="0" hangingPunct="1">
        <a:spcBef>
          <a:spcPct val="20000"/>
        </a:spcBef>
        <a:buFontTx/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719138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082675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/>
          </p:cNvSpPr>
          <p:nvPr>
            <p:ph type="body" idx="1"/>
          </p:nvPr>
        </p:nvSpPr>
        <p:spPr>
          <a:xfrm>
            <a:off x="304800" y="548680"/>
            <a:ext cx="8443664" cy="612068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6"/>
          <p:cNvSpPr>
            <a:spLocks noGrp="1"/>
          </p:cNvSpPr>
          <p:nvPr>
            <p:ph type="sldNum" sz="quarter" idx="4"/>
          </p:nvPr>
        </p:nvSpPr>
        <p:spPr>
          <a:xfrm>
            <a:off x="8672177" y="243880"/>
            <a:ext cx="508335" cy="304800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>
              <a:defRPr sz="2000" b="1">
                <a:solidFill>
                  <a:schemeClr val="bg2">
                    <a:lumMod val="10000"/>
                  </a:schemeClr>
                </a:solidFill>
              </a:defRPr>
            </a:lvl1pPr>
            <a:extLst/>
          </a:lstStyle>
          <a:p>
            <a:fld id="{256D3EEF-DE4E-429D-8EC4-DDC531AFF587}" type="slidenum">
              <a:rPr lang="en-US" smtClean="0">
                <a:solidFill>
                  <a:srgbClr val="EEECE1">
                    <a:lumMod val="10000"/>
                  </a:srgbClr>
                </a:solidFill>
              </a:rPr>
              <a:pPr/>
              <a:t>‹N°›</a:t>
            </a:fld>
            <a:endParaRPr lang="en-US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762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rnd" cmpd="sng" algn="ctr">
            <a:noFill/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srgbClr val="2F2B20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79472" y="8083"/>
            <a:ext cx="501040" cy="6864049"/>
          </a:xfrm>
          <a:prstGeom prst="rect">
            <a:avLst/>
          </a:prstGeom>
        </p:spPr>
      </p:pic>
      <p:pic>
        <p:nvPicPr>
          <p:cNvPr id="17416" name="Picture 8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6969" y="6488974"/>
            <a:ext cx="356143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740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sz="2400" cap="small" spc="0" baseline="0">
          <a:solidFill>
            <a:schemeClr val="bg1"/>
          </a:solidFill>
          <a:latin typeface="+mj-lt"/>
          <a:ea typeface="+mj-ea"/>
          <a:cs typeface="+mj-cs"/>
        </a:defRPr>
      </a:lvl1pPr>
      <a:extLst/>
    </p:titleStyle>
    <p:bodyStyle>
      <a:lvl1pPr marL="0" marR="0" indent="0" algn="l" rtl="0" eaLnBrk="1" latinLnBrk="0" hangingPunct="1">
        <a:spcBef>
          <a:spcPct val="20000"/>
        </a:spcBef>
        <a:buFontTx/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719138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082675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285750" algn="l" rtl="0" eaLnBrk="1" latinLnBrk="0" hangingPunct="1">
        <a:spcBef>
          <a:spcPct val="20000"/>
        </a:spcBef>
        <a:buFont typeface="Arial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jpeg"/><Relationship Id="rId3" Type="http://schemas.openxmlformats.org/officeDocument/2006/relationships/image" Target="../media/image48.png"/><Relationship Id="rId21" Type="http://schemas.openxmlformats.org/officeDocument/2006/relationships/image" Target="../media/image66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33" Type="http://schemas.openxmlformats.org/officeDocument/2006/relationships/image" Target="../media/image78.pn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32" Type="http://schemas.openxmlformats.org/officeDocument/2006/relationships/image" Target="../media/image77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28" Type="http://schemas.openxmlformats.org/officeDocument/2006/relationships/image" Target="../media/image73.pn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31" Type="http://schemas.openxmlformats.org/officeDocument/2006/relationships/image" Target="../media/image76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7.png"/><Relationship Id="rId27" Type="http://schemas.openxmlformats.org/officeDocument/2006/relationships/image" Target="../media/image72.jpeg"/><Relationship Id="rId30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hyperlink" Target="http://www.climatechallenge.be/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2.jpeg"/><Relationship Id="rId4" Type="http://schemas.openxmlformats.org/officeDocument/2006/relationships/image" Target="../media/image8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wmf"/><Relationship Id="rId11" Type="http://schemas.openxmlformats.org/officeDocument/2006/relationships/image" Target="../media/image22.png"/><Relationship Id="rId5" Type="http://schemas.openxmlformats.org/officeDocument/2006/relationships/image" Target="../media/image16.jpe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BE" dirty="0" smtClean="0"/>
              <a:t>Crise climatique &amp; enjeux de la COP.21</a:t>
            </a:r>
            <a:endParaRPr lang="fr-BE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548680"/>
            <a:ext cx="3352800" cy="335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6656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dirty="0" err="1" smtClean="0"/>
              <a:t>Low</a:t>
            </a:r>
            <a:r>
              <a:rPr lang="fr-BE" dirty="0" smtClean="0"/>
              <a:t> </a:t>
            </a:r>
            <a:r>
              <a:rPr lang="fr-BE" dirty="0" err="1" smtClean="0"/>
              <a:t>carbon</a:t>
            </a:r>
            <a:r>
              <a:rPr lang="fr-BE" dirty="0" smtClean="0"/>
              <a:t> transition in </a:t>
            </a:r>
            <a:r>
              <a:rPr lang="fr-BE" dirty="0" err="1" smtClean="0"/>
              <a:t>Belgium</a:t>
            </a:r>
            <a:endParaRPr lang="fr-BE" dirty="0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285" y="1772816"/>
            <a:ext cx="7673107" cy="3585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26"/>
          <p:cNvSpPr txBox="1"/>
          <p:nvPr/>
        </p:nvSpPr>
        <p:spPr>
          <a:xfrm>
            <a:off x="395537" y="5661248"/>
            <a:ext cx="820891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rgbClr val="002060"/>
                </a:solidFill>
              </a:rPr>
              <a:t>Historische evolutie van de uitstoot van broeikasgassen in </a:t>
            </a:r>
            <a:r>
              <a:rPr lang="nl-NL" dirty="0" smtClean="0">
                <a:solidFill>
                  <a:srgbClr val="002060"/>
                </a:solidFill>
              </a:rPr>
              <a:t>België (MtCO</a:t>
            </a:r>
            <a:r>
              <a:rPr lang="nl-NL" baseline="-25000" dirty="0" smtClean="0">
                <a:solidFill>
                  <a:srgbClr val="002060"/>
                </a:solidFill>
              </a:rPr>
              <a:t>2</a:t>
            </a:r>
            <a:r>
              <a:rPr lang="nl-NL" dirty="0" smtClean="0">
                <a:solidFill>
                  <a:srgbClr val="002060"/>
                </a:solidFill>
              </a:rPr>
              <a:t>eq./jaar</a:t>
            </a:r>
            <a:r>
              <a:rPr lang="nl-NL" dirty="0">
                <a:solidFill>
                  <a:srgbClr val="002060"/>
                </a:solidFill>
              </a:rPr>
              <a:t>) en de range van de 2050-doelstellingen.</a:t>
            </a:r>
          </a:p>
          <a:p>
            <a:r>
              <a:rPr lang="nl-NL" sz="1400" dirty="0" smtClean="0">
                <a:solidFill>
                  <a:srgbClr val="002060"/>
                </a:solidFill>
              </a:rPr>
              <a:t>(</a:t>
            </a:r>
            <a:r>
              <a:rPr lang="nl-NL" sz="1400" dirty="0">
                <a:solidFill>
                  <a:srgbClr val="002060"/>
                </a:solidFill>
              </a:rPr>
              <a:t>Studie “Scenario’s voor </a:t>
            </a:r>
            <a:r>
              <a:rPr lang="nl-NL" sz="1400" dirty="0" smtClean="0">
                <a:solidFill>
                  <a:srgbClr val="002060"/>
                </a:solidFill>
              </a:rPr>
              <a:t>een koolstofarm België tegen 2050”, FOD VVVL, </a:t>
            </a:r>
            <a:r>
              <a:rPr lang="nl-NL" sz="1400" dirty="0" err="1" smtClean="0">
                <a:solidFill>
                  <a:srgbClr val="002060"/>
                </a:solidFill>
              </a:rPr>
              <a:t>Climact</a:t>
            </a:r>
            <a:r>
              <a:rPr lang="nl-NL" sz="1400" dirty="0" smtClean="0">
                <a:solidFill>
                  <a:srgbClr val="002060"/>
                </a:solidFill>
              </a:rPr>
              <a:t>, Vito, 2013)</a:t>
            </a:r>
            <a:endParaRPr lang="fr-BE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155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dirty="0" err="1" smtClean="0"/>
              <a:t>Low</a:t>
            </a:r>
            <a:r>
              <a:rPr lang="fr-BE" dirty="0" smtClean="0"/>
              <a:t> </a:t>
            </a:r>
            <a:r>
              <a:rPr lang="fr-BE" dirty="0"/>
              <a:t>C</a:t>
            </a:r>
            <a:r>
              <a:rPr lang="fr-BE" dirty="0" smtClean="0"/>
              <a:t> transition in </a:t>
            </a:r>
            <a:r>
              <a:rPr lang="fr-BE" dirty="0" err="1" smtClean="0"/>
              <a:t>Belgium</a:t>
            </a:r>
            <a:endParaRPr lang="fr-BE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055" y="836712"/>
            <a:ext cx="6839297" cy="3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901055" y="4221088"/>
            <a:ext cx="68392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 dirty="0">
                <a:solidFill>
                  <a:srgbClr val="002060"/>
                </a:solidFill>
              </a:rPr>
              <a:t>Evolutie van de Belgische uitstoot van broeikasgassen per sector en in totaal t.o.v. 1990 (in </a:t>
            </a:r>
            <a:r>
              <a:rPr lang="nl-NL" sz="1600" dirty="0" smtClean="0">
                <a:solidFill>
                  <a:srgbClr val="002060"/>
                </a:solidFill>
              </a:rPr>
              <a:t>%) in </a:t>
            </a:r>
            <a:r>
              <a:rPr lang="nl-NL" sz="1600" dirty="0">
                <a:solidFill>
                  <a:srgbClr val="002060"/>
                </a:solidFill>
              </a:rPr>
              <a:t>het CENTRAAL scenario (index: 1990 = 100) </a:t>
            </a:r>
            <a:endParaRPr lang="nl-NL" sz="1600" dirty="0" smtClean="0">
              <a:solidFill>
                <a:srgbClr val="002060"/>
              </a:solidFill>
            </a:endParaRPr>
          </a:p>
          <a:p>
            <a:r>
              <a:rPr lang="nl-NL" sz="1200" dirty="0" smtClean="0">
                <a:solidFill>
                  <a:srgbClr val="002060"/>
                </a:solidFill>
              </a:rPr>
              <a:t>(</a:t>
            </a:r>
            <a:r>
              <a:rPr lang="nl-NL" sz="1200" dirty="0">
                <a:solidFill>
                  <a:srgbClr val="002060"/>
                </a:solidFill>
              </a:rPr>
              <a:t>Studie “Scenario’s voor </a:t>
            </a:r>
            <a:r>
              <a:rPr lang="nl-NL" sz="1200" dirty="0" smtClean="0">
                <a:solidFill>
                  <a:srgbClr val="002060"/>
                </a:solidFill>
              </a:rPr>
              <a:t>een koolstofarm België tegen 2050”, FOD VVVL, </a:t>
            </a:r>
            <a:r>
              <a:rPr lang="nl-NL" sz="1200" dirty="0" err="1" smtClean="0">
                <a:solidFill>
                  <a:srgbClr val="002060"/>
                </a:solidFill>
              </a:rPr>
              <a:t>Climact</a:t>
            </a:r>
            <a:r>
              <a:rPr lang="nl-NL" sz="1200" dirty="0" smtClean="0">
                <a:solidFill>
                  <a:srgbClr val="002060"/>
                </a:solidFill>
              </a:rPr>
              <a:t>, Vito, 2013)</a:t>
            </a:r>
            <a:endParaRPr lang="fr-BE" sz="1200" dirty="0">
              <a:solidFill>
                <a:srgbClr val="00206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23528" y="5517232"/>
            <a:ext cx="4176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i="1" dirty="0">
                <a:solidFill>
                  <a:srgbClr val="FF0000"/>
                </a:solidFill>
              </a:rPr>
              <a:t>Creëer je eigen koolstofarme scenario</a:t>
            </a:r>
          </a:p>
          <a:p>
            <a:r>
              <a:rPr lang="fr-BE" sz="2000" i="1" dirty="0">
                <a:solidFill>
                  <a:srgbClr val="FF0000"/>
                </a:solidFill>
              </a:rPr>
              <a:t>op </a:t>
            </a:r>
            <a:r>
              <a:rPr lang="fr-BE" sz="2000" i="1" dirty="0" smtClean="0">
                <a:solidFill>
                  <a:srgbClr val="FF0000"/>
                </a:solidFill>
              </a:rPr>
              <a:t>www.klimaat.be/2050</a:t>
            </a:r>
            <a:endParaRPr lang="fr-BE" sz="2000" i="1" dirty="0">
              <a:solidFill>
                <a:srgbClr val="FF0000"/>
              </a:solidFill>
            </a:endParaRPr>
          </a:p>
        </p:txBody>
      </p:sp>
      <p:pic>
        <p:nvPicPr>
          <p:cNvPr id="15364" name="Picture 4" descr="illu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5157192"/>
            <a:ext cx="4095750" cy="1571626"/>
          </a:xfrm>
          <a:prstGeom prst="rect">
            <a:avLst/>
          </a:prstGeom>
          <a:noFill/>
          <a:ln>
            <a:solidFill>
              <a:srgbClr val="475A8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3673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dirty="0" smtClean="0"/>
              <a:t>Multi-</a:t>
            </a:r>
            <a:r>
              <a:rPr lang="fr-BE" dirty="0" err="1" smtClean="0"/>
              <a:t>level</a:t>
            </a:r>
            <a:r>
              <a:rPr lang="fr-BE" dirty="0" smtClean="0"/>
              <a:t> action </a:t>
            </a:r>
            <a:r>
              <a:rPr lang="fr-BE" dirty="0" err="1" smtClean="0"/>
              <a:t>is</a:t>
            </a:r>
            <a:r>
              <a:rPr lang="fr-BE" dirty="0" smtClean="0"/>
              <a:t> </a:t>
            </a:r>
            <a:r>
              <a:rPr lang="fr-BE" dirty="0" err="1" smtClean="0"/>
              <a:t>required</a:t>
            </a:r>
            <a:endParaRPr lang="fr-BE" dirty="0"/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8560" y="1382713"/>
            <a:ext cx="6096000" cy="409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4932040" y="862255"/>
            <a:ext cx="3816424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>
                <a:solidFill>
                  <a:srgbClr val="FF0000"/>
                </a:solidFill>
              </a:rPr>
              <a:t>Key challenges: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Mobilize human, technological, and financial means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Participation (citizens, business, </a:t>
            </a:r>
            <a:r>
              <a:rPr lang="en-US" sz="2400" dirty="0" err="1">
                <a:solidFill>
                  <a:srgbClr val="FF0000"/>
                </a:solidFill>
              </a:rPr>
              <a:t>gov.</a:t>
            </a:r>
            <a:r>
              <a:rPr lang="en-US" sz="2400" dirty="0">
                <a:solidFill>
                  <a:srgbClr val="FF0000"/>
                </a:solidFill>
              </a:rPr>
              <a:t> and non-</a:t>
            </a:r>
            <a:r>
              <a:rPr lang="en-US" sz="2400" dirty="0" err="1">
                <a:solidFill>
                  <a:srgbClr val="FF0000"/>
                </a:solidFill>
              </a:rPr>
              <a:t>gov.</a:t>
            </a:r>
            <a:r>
              <a:rPr lang="en-US" sz="2400" dirty="0">
                <a:solidFill>
                  <a:srgbClr val="FF0000"/>
                </a:solidFill>
              </a:rPr>
              <a:t> </a:t>
            </a:r>
            <a:r>
              <a:rPr lang="en-US" sz="2400" dirty="0" err="1">
                <a:solidFill>
                  <a:srgbClr val="FF0000"/>
                </a:solidFill>
              </a:rPr>
              <a:t>organisations</a:t>
            </a:r>
            <a:r>
              <a:rPr lang="en-US" sz="2400" dirty="0">
                <a:solidFill>
                  <a:srgbClr val="FF0000"/>
                </a:solidFill>
              </a:rPr>
              <a:t>,…)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Sense of urgency (window of opportunity)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Put in place a global climate governance framework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International </a:t>
            </a:r>
            <a:r>
              <a:rPr lang="en-US" sz="2400" dirty="0" smtClean="0">
                <a:solidFill>
                  <a:srgbClr val="FF0000"/>
                </a:solidFill>
              </a:rPr>
              <a:t>cooperation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5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1098" y="2708920"/>
            <a:ext cx="828260" cy="718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PIJL-OMLAAG 21"/>
          <p:cNvSpPr/>
          <p:nvPr/>
        </p:nvSpPr>
        <p:spPr>
          <a:xfrm>
            <a:off x="1257189" y="1052737"/>
            <a:ext cx="792088" cy="54726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4" name="Tekstvak 23"/>
          <p:cNvSpPr txBox="1"/>
          <p:nvPr/>
        </p:nvSpPr>
        <p:spPr>
          <a:xfrm>
            <a:off x="395536" y="1062298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1992</a:t>
            </a:r>
            <a:endParaRPr lang="fr-BE" dirty="0"/>
          </a:p>
        </p:txBody>
      </p:sp>
      <p:sp>
        <p:nvSpPr>
          <p:cNvPr id="26" name="Tekstvak 25"/>
          <p:cNvSpPr txBox="1"/>
          <p:nvPr/>
        </p:nvSpPr>
        <p:spPr>
          <a:xfrm>
            <a:off x="395536" y="1778866"/>
            <a:ext cx="78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1997</a:t>
            </a:r>
            <a:endParaRPr lang="fr-BE" dirty="0"/>
          </a:p>
        </p:txBody>
      </p:sp>
      <p:pic>
        <p:nvPicPr>
          <p:cNvPr id="27" name="Afbeelding 26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7EAD7"/>
              </a:clrFrom>
              <a:clrTo>
                <a:srgbClr val="F7EAD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75" y="2936800"/>
            <a:ext cx="782847" cy="636217"/>
          </a:xfrm>
          <a:prstGeom prst="rect">
            <a:avLst/>
          </a:prstGeom>
        </p:spPr>
      </p:pic>
      <p:pic>
        <p:nvPicPr>
          <p:cNvPr id="28" name="Afbeelding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2293" y="5002097"/>
            <a:ext cx="1039547" cy="409321"/>
          </a:xfrm>
          <a:prstGeom prst="rect">
            <a:avLst/>
          </a:prstGeom>
        </p:spPr>
      </p:pic>
      <p:sp>
        <p:nvSpPr>
          <p:cNvPr id="30" name="Tekstvak 29"/>
          <p:cNvSpPr txBox="1"/>
          <p:nvPr/>
        </p:nvSpPr>
        <p:spPr>
          <a:xfrm>
            <a:off x="395530" y="5961648"/>
            <a:ext cx="78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2015</a:t>
            </a:r>
            <a:endParaRPr lang="fr-BE" dirty="0"/>
          </a:p>
        </p:txBody>
      </p:sp>
      <p:sp>
        <p:nvSpPr>
          <p:cNvPr id="31" name="Tekstvak 30"/>
          <p:cNvSpPr txBox="1"/>
          <p:nvPr/>
        </p:nvSpPr>
        <p:spPr>
          <a:xfrm>
            <a:off x="395536" y="2780929"/>
            <a:ext cx="7896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2009/</a:t>
            </a:r>
          </a:p>
          <a:p>
            <a:r>
              <a:rPr lang="nl-BE" dirty="0" smtClean="0"/>
              <a:t>2010</a:t>
            </a:r>
            <a:endParaRPr lang="fr-BE" dirty="0"/>
          </a:p>
        </p:txBody>
      </p:sp>
      <p:sp>
        <p:nvSpPr>
          <p:cNvPr id="32" name="Tekstvak 31"/>
          <p:cNvSpPr txBox="1"/>
          <p:nvPr/>
        </p:nvSpPr>
        <p:spPr>
          <a:xfrm>
            <a:off x="395528" y="4977637"/>
            <a:ext cx="78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2012</a:t>
            </a:r>
            <a:endParaRPr lang="fr-BE" dirty="0"/>
          </a:p>
        </p:txBody>
      </p:sp>
      <p:sp>
        <p:nvSpPr>
          <p:cNvPr id="33" name="Tekstvak 32"/>
          <p:cNvSpPr txBox="1"/>
          <p:nvPr/>
        </p:nvSpPr>
        <p:spPr>
          <a:xfrm>
            <a:off x="3779912" y="1062298"/>
            <a:ext cx="35755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Klimaatverdrag</a:t>
            </a:r>
            <a:endParaRPr lang="fr-BE" dirty="0"/>
          </a:p>
        </p:txBody>
      </p:sp>
      <p:sp>
        <p:nvSpPr>
          <p:cNvPr id="34" name="Tekstvak 33"/>
          <p:cNvSpPr txBox="1"/>
          <p:nvPr/>
        </p:nvSpPr>
        <p:spPr>
          <a:xfrm>
            <a:off x="3779913" y="1640367"/>
            <a:ext cx="452905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Kyoto Protoco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nl-BE" sz="1400" dirty="0" smtClean="0"/>
              <a:t>EU: -8% </a:t>
            </a:r>
            <a:r>
              <a:rPr lang="nl-BE" sz="1400" dirty="0" err="1" smtClean="0"/>
              <a:t>between</a:t>
            </a:r>
            <a:r>
              <a:rPr lang="nl-BE" sz="1400" dirty="0" smtClean="0"/>
              <a:t> 2008 </a:t>
            </a:r>
            <a:r>
              <a:rPr lang="nl-BE" sz="1400" dirty="0" err="1" smtClean="0"/>
              <a:t>and</a:t>
            </a:r>
            <a:r>
              <a:rPr lang="nl-BE" sz="1400" dirty="0" smtClean="0"/>
              <a:t> 2012 (~1990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nl-BE" sz="1400" dirty="0" smtClean="0"/>
              <a:t>BE: -7,5%</a:t>
            </a:r>
            <a:endParaRPr lang="fr-BE" sz="1400" dirty="0"/>
          </a:p>
        </p:txBody>
      </p:sp>
      <p:sp>
        <p:nvSpPr>
          <p:cNvPr id="35" name="Tekstvak 34"/>
          <p:cNvSpPr txBox="1"/>
          <p:nvPr/>
        </p:nvSpPr>
        <p:spPr>
          <a:xfrm>
            <a:off x="3779912" y="2492896"/>
            <a:ext cx="4608512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Copenhagen </a:t>
            </a:r>
            <a:r>
              <a:rPr lang="nl-BE" dirty="0" err="1" smtClean="0"/>
              <a:t>Accord</a:t>
            </a:r>
            <a:r>
              <a:rPr lang="nl-BE" dirty="0" smtClean="0"/>
              <a:t> &amp; </a:t>
            </a:r>
            <a:r>
              <a:rPr lang="nl-BE" dirty="0" err="1" smtClean="0"/>
              <a:t>Cancún</a:t>
            </a:r>
            <a:r>
              <a:rPr lang="nl-BE" dirty="0" smtClean="0"/>
              <a:t> </a:t>
            </a:r>
            <a:r>
              <a:rPr lang="nl-BE" dirty="0" err="1" smtClean="0"/>
              <a:t>Agreements</a:t>
            </a:r>
            <a:endParaRPr lang="nl-BE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nl-BE" sz="1400" dirty="0" smtClean="0"/>
              <a:t>EU: -20% (~1990) </a:t>
            </a:r>
            <a:r>
              <a:rPr lang="nl-BE" sz="1400" dirty="0" err="1" smtClean="0"/>
              <a:t>by</a:t>
            </a:r>
            <a:r>
              <a:rPr lang="nl-BE" sz="1400" dirty="0" smtClean="0"/>
              <a:t> 2020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nl-BE" sz="1400" dirty="0" smtClean="0"/>
              <a:t>100 </a:t>
            </a:r>
            <a:r>
              <a:rPr lang="nl-BE" sz="1400" dirty="0" err="1" smtClean="0"/>
              <a:t>billion</a:t>
            </a:r>
            <a:r>
              <a:rPr lang="nl-BE" sz="1400" dirty="0" smtClean="0"/>
              <a:t> USD per </a:t>
            </a:r>
            <a:r>
              <a:rPr lang="nl-BE" sz="1400" dirty="0" err="1" smtClean="0"/>
              <a:t>year</a:t>
            </a:r>
            <a:r>
              <a:rPr lang="nl-BE" sz="1400" dirty="0" smtClean="0"/>
              <a:t> </a:t>
            </a:r>
            <a:r>
              <a:rPr lang="nl-BE" sz="1400" dirty="0" err="1" smtClean="0"/>
              <a:t>by</a:t>
            </a:r>
            <a:r>
              <a:rPr lang="nl-BE" sz="1400" dirty="0" smtClean="0"/>
              <a:t> 2020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nl-BE" sz="1400" dirty="0" smtClean="0"/>
              <a:t>Green Climate Fun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nl-BE" sz="1400" dirty="0" smtClean="0"/>
              <a:t>2°C goal</a:t>
            </a:r>
          </a:p>
        </p:txBody>
      </p:sp>
      <p:pic>
        <p:nvPicPr>
          <p:cNvPr id="36" name="Afbeelding 3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163" y="3835524"/>
            <a:ext cx="865808" cy="941340"/>
          </a:xfrm>
          <a:prstGeom prst="rect">
            <a:avLst/>
          </a:prstGeom>
        </p:spPr>
      </p:pic>
      <p:sp>
        <p:nvSpPr>
          <p:cNvPr id="37" name="Tekstvak 36"/>
          <p:cNvSpPr txBox="1"/>
          <p:nvPr/>
        </p:nvSpPr>
        <p:spPr>
          <a:xfrm>
            <a:off x="395536" y="4077075"/>
            <a:ext cx="789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2011</a:t>
            </a:r>
            <a:endParaRPr lang="fr-BE" dirty="0"/>
          </a:p>
        </p:txBody>
      </p:sp>
      <p:sp>
        <p:nvSpPr>
          <p:cNvPr id="38" name="Tekstvak 37"/>
          <p:cNvSpPr txBox="1"/>
          <p:nvPr/>
        </p:nvSpPr>
        <p:spPr>
          <a:xfrm>
            <a:off x="3779912" y="3800076"/>
            <a:ext cx="46085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Durban Platform</a:t>
            </a:r>
          </a:p>
          <a:p>
            <a:r>
              <a:rPr lang="en-US" sz="1400" dirty="0" smtClean="0"/>
              <a:t>Adopt a </a:t>
            </a:r>
            <a:r>
              <a:rPr lang="en-US" sz="1400" dirty="0"/>
              <a:t>protocol, another legal instrument or</a:t>
            </a:r>
          </a:p>
          <a:p>
            <a:r>
              <a:rPr lang="en-US" sz="1400" dirty="0"/>
              <a:t>an agreed outcome with legal force under the Convention applicable to all </a:t>
            </a:r>
            <a:r>
              <a:rPr lang="en-US" sz="1400" dirty="0" smtClean="0"/>
              <a:t>Parties at COP21</a:t>
            </a:r>
            <a:endParaRPr lang="fr-BE" sz="1400" dirty="0"/>
          </a:p>
        </p:txBody>
      </p:sp>
      <p:sp>
        <p:nvSpPr>
          <p:cNvPr id="39" name="Tekstvak 38"/>
          <p:cNvSpPr txBox="1"/>
          <p:nvPr/>
        </p:nvSpPr>
        <p:spPr>
          <a:xfrm>
            <a:off x="3779912" y="4885304"/>
            <a:ext cx="46085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Second Commitment </a:t>
            </a:r>
            <a:r>
              <a:rPr lang="nl-BE" dirty="0" err="1" smtClean="0"/>
              <a:t>Period</a:t>
            </a:r>
            <a:r>
              <a:rPr lang="nl-BE" dirty="0" smtClean="0"/>
              <a:t> KP</a:t>
            </a:r>
          </a:p>
          <a:p>
            <a:r>
              <a:rPr lang="en-US" sz="1400" dirty="0" smtClean="0"/>
              <a:t>EU: -20% (~1990) between 2013 and 2020</a:t>
            </a:r>
            <a:endParaRPr lang="fr-BE" sz="1400" dirty="0"/>
          </a:p>
        </p:txBody>
      </p:sp>
      <p:sp>
        <p:nvSpPr>
          <p:cNvPr id="40" name="Tekstvak 39"/>
          <p:cNvSpPr txBox="1"/>
          <p:nvPr/>
        </p:nvSpPr>
        <p:spPr>
          <a:xfrm>
            <a:off x="3779912" y="5951100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/>
              <a:t>2015 Agreement</a:t>
            </a:r>
          </a:p>
        </p:txBody>
      </p:sp>
      <p:sp>
        <p:nvSpPr>
          <p:cNvPr id="41" name="Rechthoek 40"/>
          <p:cNvSpPr/>
          <p:nvPr/>
        </p:nvSpPr>
        <p:spPr>
          <a:xfrm>
            <a:off x="395528" y="3840556"/>
            <a:ext cx="7992896" cy="2880320"/>
          </a:xfrm>
          <a:prstGeom prst="rect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026" name="Picture 2" descr="http://unfccc.int/files/inc/graphics/image/png/2011_logo.p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1" y="947474"/>
            <a:ext cx="2071683" cy="609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2894" y="5639172"/>
            <a:ext cx="705327" cy="958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7E7"/>
              </a:clrFrom>
              <a:clrTo>
                <a:srgbClr val="FFF7E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5" y="1766032"/>
            <a:ext cx="901700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04800" y="188641"/>
            <a:ext cx="8077200" cy="50405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l-BE" dirty="0" smtClean="0"/>
              <a:t>Climate </a:t>
            </a:r>
            <a:r>
              <a:rPr lang="nl-BE" dirty="0" err="1" smtClean="0"/>
              <a:t>negotiations</a:t>
            </a:r>
            <a:r>
              <a:rPr lang="nl-BE" dirty="0" smtClean="0"/>
              <a:t>: </a:t>
            </a:r>
            <a:r>
              <a:rPr lang="nl-BE" dirty="0" err="1" smtClean="0"/>
              <a:t>Historic</a:t>
            </a:r>
            <a:r>
              <a:rPr lang="nl-BE" dirty="0" smtClean="0"/>
              <a:t> </a:t>
            </a:r>
            <a:r>
              <a:rPr lang="nl-BE" dirty="0" err="1" smtClean="0"/>
              <a:t>perspectiv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425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304800" y="116632"/>
            <a:ext cx="8299648" cy="504056"/>
          </a:xfrm>
        </p:spPr>
        <p:txBody>
          <a:bodyPr/>
          <a:lstStyle/>
          <a:p>
            <a:r>
              <a:rPr lang="fr-BE" dirty="0"/>
              <a:t>Major </a:t>
            </a:r>
            <a:r>
              <a:rPr lang="fr-BE" dirty="0" err="1"/>
              <a:t>negotiating</a:t>
            </a:r>
            <a:r>
              <a:rPr lang="fr-BE" dirty="0"/>
              <a:t> </a:t>
            </a:r>
            <a:r>
              <a:rPr lang="fr-BE" dirty="0" smtClean="0"/>
              <a:t>groups</a:t>
            </a:r>
            <a:endParaRPr lang="fr-BE" dirty="0"/>
          </a:p>
        </p:txBody>
      </p:sp>
      <p:grpSp>
        <p:nvGrpSpPr>
          <p:cNvPr id="4" name="Group 17"/>
          <p:cNvGrpSpPr/>
          <p:nvPr/>
        </p:nvGrpSpPr>
        <p:grpSpPr>
          <a:xfrm>
            <a:off x="3131840" y="666796"/>
            <a:ext cx="5435899" cy="6002292"/>
            <a:chOff x="3563888" y="666796"/>
            <a:chExt cx="5003850" cy="6002292"/>
          </a:xfrm>
        </p:grpSpPr>
        <p:sp>
          <p:nvSpPr>
            <p:cNvPr id="5" name="Rectangle 53"/>
            <p:cNvSpPr>
              <a:spLocks noChangeArrowheads="1"/>
            </p:cNvSpPr>
            <p:nvPr/>
          </p:nvSpPr>
          <p:spPr bwMode="auto">
            <a:xfrm>
              <a:off x="3563888" y="981075"/>
              <a:ext cx="5003850" cy="5688013"/>
            </a:xfrm>
            <a:prstGeom prst="rect">
              <a:avLst/>
            </a:prstGeom>
            <a:solidFill>
              <a:schemeClr val="tx2"/>
            </a:solidFill>
            <a:ln w="38100" algn="ctr">
              <a:solidFill>
                <a:schemeClr val="accent3">
                  <a:lumMod val="65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lnSpc>
                  <a:spcPct val="80000"/>
                </a:lnSpc>
                <a:spcBef>
                  <a:spcPct val="20000"/>
                </a:spcBef>
                <a:buFontTx/>
                <a:buChar char="•"/>
              </a:pPr>
              <a:endParaRPr lang="nl-BE" b="0">
                <a:latin typeface="Trebuchet MS" pitchFamily="34" charset="0"/>
              </a:endParaRPr>
            </a:p>
          </p:txBody>
        </p:sp>
        <p:sp>
          <p:nvSpPr>
            <p:cNvPr id="6" name="Text Box 54"/>
            <p:cNvSpPr txBox="1">
              <a:spLocks noChangeArrowheads="1"/>
            </p:cNvSpPr>
            <p:nvPr/>
          </p:nvSpPr>
          <p:spPr bwMode="auto">
            <a:xfrm>
              <a:off x="3563888" y="666796"/>
              <a:ext cx="3924151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>
                  <a:latin typeface="Trebuchet MS" pitchFamily="34" charset="0"/>
                </a:rPr>
                <a:t>Non-Annex 1 </a:t>
              </a:r>
              <a:r>
                <a:rPr lang="nl-BE" dirty="0" smtClean="0">
                  <a:latin typeface="Trebuchet MS" pitchFamily="34" charset="0"/>
                </a:rPr>
                <a:t>(“ZUID”)</a:t>
              </a:r>
              <a:endParaRPr lang="en-US" dirty="0">
                <a:latin typeface="Trebuchet MS" pitchFamily="34" charset="0"/>
              </a:endParaRPr>
            </a:p>
          </p:txBody>
        </p:sp>
      </p:grpSp>
      <p:grpSp>
        <p:nvGrpSpPr>
          <p:cNvPr id="7" name="Group 16"/>
          <p:cNvGrpSpPr/>
          <p:nvPr/>
        </p:nvGrpSpPr>
        <p:grpSpPr>
          <a:xfrm>
            <a:off x="107504" y="669925"/>
            <a:ext cx="2952328" cy="5999163"/>
            <a:chOff x="179388" y="669925"/>
            <a:chExt cx="3240896" cy="5999163"/>
          </a:xfrm>
        </p:grpSpPr>
        <p:sp>
          <p:nvSpPr>
            <p:cNvPr id="8" name="Rectangle 50"/>
            <p:cNvSpPr>
              <a:spLocks noChangeArrowheads="1"/>
            </p:cNvSpPr>
            <p:nvPr/>
          </p:nvSpPr>
          <p:spPr bwMode="auto">
            <a:xfrm>
              <a:off x="179388" y="981075"/>
              <a:ext cx="3240896" cy="5688013"/>
            </a:xfrm>
            <a:prstGeom prst="rect">
              <a:avLst/>
            </a:prstGeom>
            <a:solidFill>
              <a:schemeClr val="tx2"/>
            </a:solidFill>
            <a:ln w="38100" algn="ctr">
              <a:solidFill>
                <a:schemeClr val="accent3">
                  <a:lumMod val="65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lnSpc>
                  <a:spcPct val="80000"/>
                </a:lnSpc>
                <a:spcBef>
                  <a:spcPct val="20000"/>
                </a:spcBef>
                <a:buFontTx/>
                <a:buChar char="•"/>
              </a:pPr>
              <a:endParaRPr lang="nl-BE" b="0">
                <a:latin typeface="Trebuchet MS" pitchFamily="34" charset="0"/>
              </a:endParaRPr>
            </a:p>
          </p:txBody>
        </p:sp>
        <p:sp>
          <p:nvSpPr>
            <p:cNvPr id="9" name="Text Box 51"/>
            <p:cNvSpPr txBox="1">
              <a:spLocks noChangeArrowheads="1"/>
            </p:cNvSpPr>
            <p:nvPr/>
          </p:nvSpPr>
          <p:spPr bwMode="auto">
            <a:xfrm>
              <a:off x="179388" y="669925"/>
              <a:ext cx="2698553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>
                  <a:latin typeface="Trebuchet MS" pitchFamily="34" charset="0"/>
                </a:rPr>
                <a:t>Annex </a:t>
              </a:r>
              <a:r>
                <a:rPr lang="nl-BE" dirty="0" smtClean="0">
                  <a:latin typeface="Trebuchet MS" pitchFamily="34" charset="0"/>
                </a:rPr>
                <a:t>1 (“NOORD”)</a:t>
              </a:r>
              <a:r>
                <a:rPr lang="nl-BE" b="0" dirty="0" smtClean="0">
                  <a:latin typeface="Trebuchet MS" pitchFamily="34" charset="0"/>
                </a:rPr>
                <a:t> </a:t>
              </a:r>
              <a:endParaRPr lang="en-US" b="0" dirty="0">
                <a:latin typeface="Trebuchet MS" pitchFamily="34" charset="0"/>
              </a:endParaRPr>
            </a:p>
          </p:txBody>
        </p:sp>
      </p:grpSp>
      <p:grpSp>
        <p:nvGrpSpPr>
          <p:cNvPr id="10" name="Group 20"/>
          <p:cNvGrpSpPr/>
          <p:nvPr/>
        </p:nvGrpSpPr>
        <p:grpSpPr>
          <a:xfrm>
            <a:off x="2295677" y="1375764"/>
            <a:ext cx="1844276" cy="1847501"/>
            <a:chOff x="2587552" y="1375764"/>
            <a:chExt cx="1844276" cy="1847501"/>
          </a:xfrm>
        </p:grpSpPr>
        <p:sp>
          <p:nvSpPr>
            <p:cNvPr id="11" name="Rectangle 37"/>
            <p:cNvSpPr>
              <a:spLocks noChangeArrowheads="1"/>
            </p:cNvSpPr>
            <p:nvPr/>
          </p:nvSpPr>
          <p:spPr bwMode="auto">
            <a:xfrm>
              <a:off x="2627784" y="1498990"/>
              <a:ext cx="1804044" cy="1724275"/>
            </a:xfrm>
            <a:prstGeom prst="ellipse">
              <a:avLst/>
            </a:prstGeom>
            <a:solidFill>
              <a:srgbClr val="EBF2F2">
                <a:alpha val="50196"/>
              </a:srgbClr>
            </a:solidFill>
            <a:ln w="38100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lnSpc>
                  <a:spcPct val="80000"/>
                </a:lnSpc>
                <a:spcBef>
                  <a:spcPct val="20000"/>
                </a:spcBef>
                <a:buFontTx/>
                <a:buChar char="•"/>
              </a:pPr>
              <a:endParaRPr lang="nl-BE" b="0">
                <a:latin typeface="Trebuchet MS" pitchFamily="34" charset="0"/>
              </a:endParaRPr>
            </a:p>
          </p:txBody>
        </p:sp>
        <p:sp>
          <p:nvSpPr>
            <p:cNvPr id="12" name="Text Box 38"/>
            <p:cNvSpPr txBox="1">
              <a:spLocks noChangeArrowheads="1"/>
            </p:cNvSpPr>
            <p:nvPr/>
          </p:nvSpPr>
          <p:spPr bwMode="auto">
            <a:xfrm>
              <a:off x="2587552" y="1375764"/>
              <a:ext cx="580776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>
                  <a:solidFill>
                    <a:schemeClr val="bg1"/>
                  </a:solidFill>
                  <a:latin typeface="Trebuchet MS" pitchFamily="34" charset="0"/>
                </a:rPr>
                <a:t>EIG</a:t>
              </a:r>
              <a:endParaRPr lang="en-US" dirty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</p:grpSp>
      <p:grpSp>
        <p:nvGrpSpPr>
          <p:cNvPr id="13" name="Group 18"/>
          <p:cNvGrpSpPr/>
          <p:nvPr/>
        </p:nvGrpSpPr>
        <p:grpSpPr>
          <a:xfrm>
            <a:off x="4067944" y="692151"/>
            <a:ext cx="4405112" cy="5905504"/>
            <a:chOff x="4499992" y="692151"/>
            <a:chExt cx="3973064" cy="5905504"/>
          </a:xfrm>
        </p:grpSpPr>
        <p:grpSp>
          <p:nvGrpSpPr>
            <p:cNvPr id="14" name="Group 34"/>
            <p:cNvGrpSpPr>
              <a:grpSpLocks/>
            </p:cNvGrpSpPr>
            <p:nvPr/>
          </p:nvGrpSpPr>
          <p:grpSpPr bwMode="auto">
            <a:xfrm>
              <a:off x="4499992" y="692151"/>
              <a:ext cx="3940597" cy="5905504"/>
              <a:chOff x="295" y="572"/>
              <a:chExt cx="2195" cy="3629"/>
            </a:xfrm>
            <a:effectLst/>
          </p:grpSpPr>
          <p:sp>
            <p:nvSpPr>
              <p:cNvPr id="17" name="Rectangle 35"/>
              <p:cNvSpPr>
                <a:spLocks noChangeArrowheads="1"/>
              </p:cNvSpPr>
              <p:nvPr/>
            </p:nvSpPr>
            <p:spPr bwMode="auto">
              <a:xfrm>
                <a:off x="404" y="799"/>
                <a:ext cx="2086" cy="3402"/>
              </a:xfrm>
              <a:prstGeom prst="rect">
                <a:avLst/>
              </a:prstGeom>
              <a:solidFill>
                <a:schemeClr val="bg2"/>
              </a:solidFill>
              <a:ln w="381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  <a:buFontTx/>
                  <a:buChar char="•"/>
                </a:pPr>
                <a:endParaRPr lang="nl-BE" b="0">
                  <a:latin typeface="Trebuchet MS" pitchFamily="34" charset="0"/>
                </a:endParaRPr>
              </a:p>
            </p:txBody>
          </p:sp>
          <p:sp>
            <p:nvSpPr>
              <p:cNvPr id="18" name="Text Box 36"/>
              <p:cNvSpPr txBox="1">
                <a:spLocks noChangeArrowheads="1"/>
              </p:cNvSpPr>
              <p:nvPr/>
            </p:nvSpPr>
            <p:spPr bwMode="auto">
              <a:xfrm>
                <a:off x="295" y="572"/>
                <a:ext cx="997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lnSpc>
                    <a:spcPct val="80000"/>
                  </a:lnSpc>
                  <a:spcBef>
                    <a:spcPct val="50000"/>
                  </a:spcBef>
                </a:pPr>
                <a:endParaRPr lang="nl-BE">
                  <a:latin typeface="Trebuchet MS" pitchFamily="34" charset="0"/>
                </a:endParaRPr>
              </a:p>
            </p:txBody>
          </p:sp>
        </p:grpSp>
        <p:pic>
          <p:nvPicPr>
            <p:cNvPr id="15" name="Picture 8" descr="File:Flag of the Group of 77.svg"/>
            <p:cNvPicPr>
              <a:picLocks noChangeAspect="1" noChangeArrowheads="1"/>
            </p:cNvPicPr>
            <p:nvPr/>
          </p:nvPicPr>
          <p:blipFill rotWithShape="1"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891" t="7047" r="21417" b="7861"/>
            <a:stretch/>
          </p:blipFill>
          <p:spPr bwMode="auto">
            <a:xfrm>
              <a:off x="7344437" y="980728"/>
              <a:ext cx="1128619" cy="1251350"/>
            </a:xfrm>
            <a:prstGeom prst="ellipse">
              <a:avLst/>
            </a:prstGeom>
            <a:ln w="63500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 Box 61"/>
            <p:cNvSpPr txBox="1">
              <a:spLocks noChangeArrowheads="1"/>
            </p:cNvSpPr>
            <p:nvPr/>
          </p:nvSpPr>
          <p:spPr bwMode="auto">
            <a:xfrm>
              <a:off x="4765248" y="1121001"/>
              <a:ext cx="1689100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>
                  <a:latin typeface="Trebuchet MS" pitchFamily="34" charset="0"/>
                </a:rPr>
                <a:t>G77+China</a:t>
              </a:r>
              <a:endParaRPr lang="en-US" b="0" dirty="0">
                <a:latin typeface="Trebuchet MS" pitchFamily="34" charset="0"/>
              </a:endParaRPr>
            </a:p>
          </p:txBody>
        </p:sp>
      </p:grpSp>
      <p:sp>
        <p:nvSpPr>
          <p:cNvPr id="19" name="Rectangle 31"/>
          <p:cNvSpPr>
            <a:spLocks noChangeArrowheads="1"/>
          </p:cNvSpPr>
          <p:nvPr/>
        </p:nvSpPr>
        <p:spPr bwMode="auto">
          <a:xfrm>
            <a:off x="-1116013" y="5445125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nl-BE" b="0">
              <a:latin typeface="Trebuchet MS" pitchFamily="34" charset="0"/>
            </a:endParaRPr>
          </a:p>
        </p:txBody>
      </p:sp>
      <p:grpSp>
        <p:nvGrpSpPr>
          <p:cNvPr id="20" name="Group 14"/>
          <p:cNvGrpSpPr/>
          <p:nvPr/>
        </p:nvGrpSpPr>
        <p:grpSpPr>
          <a:xfrm>
            <a:off x="4373561" y="5363691"/>
            <a:ext cx="1890987" cy="1217994"/>
            <a:chOff x="5393965" y="5369470"/>
            <a:chExt cx="1890986" cy="1217994"/>
          </a:xfrm>
        </p:grpSpPr>
        <p:pic>
          <p:nvPicPr>
            <p:cNvPr id="21" name="Picture 5" descr="Image of Arab League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168" t="5416" r="23168" b="606"/>
            <a:stretch/>
          </p:blipFill>
          <p:spPr bwMode="auto">
            <a:xfrm>
              <a:off x="6105917" y="5369470"/>
              <a:ext cx="1179034" cy="1187489"/>
            </a:xfrm>
            <a:prstGeom prst="ellipse">
              <a:avLst/>
            </a:prstGeom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 Box 44"/>
            <p:cNvSpPr txBox="1">
              <a:spLocks noChangeArrowheads="1"/>
            </p:cNvSpPr>
            <p:nvPr/>
          </p:nvSpPr>
          <p:spPr bwMode="auto">
            <a:xfrm>
              <a:off x="5393965" y="5913433"/>
              <a:ext cx="839433" cy="6740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err="1" smtClean="0">
                  <a:latin typeface="Trebuchet MS" pitchFamily="34" charset="0"/>
                </a:rPr>
                <a:t>Arab</a:t>
              </a:r>
              <a:r>
                <a:rPr lang="nl-BE" dirty="0" smtClean="0">
                  <a:latin typeface="Trebuchet MS" pitchFamily="34" charset="0"/>
                </a:rPr>
                <a:t> </a:t>
              </a:r>
            </a:p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smtClean="0">
                  <a:latin typeface="Trebuchet MS" pitchFamily="34" charset="0"/>
                </a:rPr>
                <a:t>Group</a:t>
              </a:r>
              <a:endParaRPr lang="en-US" dirty="0">
                <a:latin typeface="Trebuchet MS" pitchFamily="34" charset="0"/>
              </a:endParaRPr>
            </a:p>
          </p:txBody>
        </p:sp>
      </p:grpSp>
      <p:grpSp>
        <p:nvGrpSpPr>
          <p:cNvPr id="23" name="Group 13"/>
          <p:cNvGrpSpPr/>
          <p:nvPr/>
        </p:nvGrpSpPr>
        <p:grpSpPr>
          <a:xfrm>
            <a:off x="4211960" y="3645024"/>
            <a:ext cx="1786064" cy="1681920"/>
            <a:chOff x="4763508" y="3941463"/>
            <a:chExt cx="1786064" cy="1681920"/>
          </a:xfrm>
        </p:grpSpPr>
        <p:grpSp>
          <p:nvGrpSpPr>
            <p:cNvPr id="24" name="Group 4"/>
            <p:cNvGrpSpPr/>
            <p:nvPr/>
          </p:nvGrpSpPr>
          <p:grpSpPr>
            <a:xfrm>
              <a:off x="5076845" y="4150656"/>
              <a:ext cx="1472727" cy="1472727"/>
              <a:chOff x="5403529" y="5392266"/>
              <a:chExt cx="1472727" cy="1472727"/>
            </a:xfrm>
            <a:effectLst/>
          </p:grpSpPr>
          <p:sp>
            <p:nvSpPr>
              <p:cNvPr id="26" name="Rectangle 45"/>
              <p:cNvSpPr>
                <a:spLocks noChangeArrowheads="1"/>
              </p:cNvSpPr>
              <p:nvPr/>
            </p:nvSpPr>
            <p:spPr bwMode="auto">
              <a:xfrm>
                <a:off x="5403529" y="5392266"/>
                <a:ext cx="1472727" cy="1472727"/>
              </a:xfrm>
              <a:prstGeom prst="ellipse">
                <a:avLst/>
              </a:prstGeom>
              <a:solidFill>
                <a:schemeClr val="accent1"/>
              </a:solidFill>
              <a:ln w="381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  <a:buFontTx/>
                  <a:buChar char="•"/>
                </a:pPr>
                <a:endParaRPr lang="nl-BE" b="0">
                  <a:latin typeface="Trebuchet MS" pitchFamily="34" charset="0"/>
                </a:endParaRPr>
              </a:p>
            </p:txBody>
          </p:sp>
          <p:pic>
            <p:nvPicPr>
              <p:cNvPr id="27" name="Picture 9" descr="Image of National Flag"/>
              <p:cNvPicPr>
                <a:picLocks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7395" y="5716583"/>
                <a:ext cx="541491" cy="378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" name="Picture 10" descr="Image of National Flag"/>
              <p:cNvPicPr>
                <a:picLocks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7395" y="6169528"/>
                <a:ext cx="541491" cy="378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" name="Picture 11" descr="Image of National Flag"/>
              <p:cNvPicPr>
                <a:picLocks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9227" y="6161859"/>
                <a:ext cx="541491" cy="378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Picture 12" descr="Image of National Flag"/>
              <p:cNvPicPr>
                <a:picLocks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2186" y="5713094"/>
                <a:ext cx="541491" cy="3785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5" name="Text Box 46"/>
            <p:cNvSpPr txBox="1">
              <a:spLocks noChangeArrowheads="1"/>
            </p:cNvSpPr>
            <p:nvPr/>
          </p:nvSpPr>
          <p:spPr bwMode="auto">
            <a:xfrm>
              <a:off x="4763508" y="3941463"/>
              <a:ext cx="1136655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>
                  <a:latin typeface="Trebuchet MS" pitchFamily="34" charset="0"/>
                </a:rPr>
                <a:t>BASIC</a:t>
              </a:r>
              <a:endParaRPr lang="en-US" dirty="0">
                <a:latin typeface="Trebuchet MS" pitchFamily="34" charset="0"/>
              </a:endParaRPr>
            </a:p>
          </p:txBody>
        </p:sp>
      </p:grpSp>
      <p:grpSp>
        <p:nvGrpSpPr>
          <p:cNvPr id="31" name="Group 11"/>
          <p:cNvGrpSpPr/>
          <p:nvPr/>
        </p:nvGrpSpPr>
        <p:grpSpPr>
          <a:xfrm>
            <a:off x="5940152" y="1412777"/>
            <a:ext cx="3008755" cy="1420725"/>
            <a:chOff x="6012160" y="1628800"/>
            <a:chExt cx="3008754" cy="1420725"/>
          </a:xfrm>
        </p:grpSpPr>
        <p:pic>
          <p:nvPicPr>
            <p:cNvPr id="32" name="Picture 6" descr="Image of African Union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650" r="12631"/>
            <a:stretch/>
          </p:blipFill>
          <p:spPr bwMode="auto">
            <a:xfrm>
              <a:off x="6012160" y="1628800"/>
              <a:ext cx="1420795" cy="1420725"/>
            </a:xfrm>
            <a:prstGeom prst="ellipse">
              <a:avLst/>
            </a:prstGeom>
            <a:ln w="19050" cap="rnd">
              <a:solidFill>
                <a:schemeClr val="tx1"/>
              </a:solidFill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 Box 40"/>
            <p:cNvSpPr txBox="1">
              <a:spLocks noChangeArrowheads="1"/>
            </p:cNvSpPr>
            <p:nvPr/>
          </p:nvSpPr>
          <p:spPr bwMode="auto">
            <a:xfrm>
              <a:off x="7293714" y="2513994"/>
              <a:ext cx="1727200" cy="5355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err="1" smtClean="0">
                  <a:latin typeface="Trebuchet MS" pitchFamily="34" charset="0"/>
                </a:rPr>
                <a:t>African</a:t>
              </a:r>
              <a:r>
                <a:rPr lang="nl-BE" dirty="0">
                  <a:latin typeface="Trebuchet MS" pitchFamily="34" charset="0"/>
                </a:rPr>
                <a:t/>
              </a:r>
              <a:br>
                <a:rPr lang="nl-BE" dirty="0">
                  <a:latin typeface="Trebuchet MS" pitchFamily="34" charset="0"/>
                </a:rPr>
              </a:br>
              <a:r>
                <a:rPr lang="nl-BE" dirty="0" smtClean="0">
                  <a:latin typeface="Trebuchet MS" pitchFamily="34" charset="0"/>
                </a:rPr>
                <a:t>Group</a:t>
              </a:r>
              <a:r>
                <a:rPr lang="nl-BE" sz="1600" dirty="0" smtClean="0">
                  <a:latin typeface="Trebuchet MS" pitchFamily="34" charset="0"/>
                </a:rPr>
                <a:t> (53)</a:t>
              </a:r>
              <a:endParaRPr lang="en-US" dirty="0">
                <a:latin typeface="Trebuchet MS" pitchFamily="34" charset="0"/>
              </a:endParaRPr>
            </a:p>
          </p:txBody>
        </p:sp>
      </p:grpSp>
      <p:pic>
        <p:nvPicPr>
          <p:cNvPr id="34" name="Picture 19" descr="Image of National Flag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3" y="2495609"/>
            <a:ext cx="486852" cy="378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1" descr="Image of National Flag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3" y="1848068"/>
            <a:ext cx="486852" cy="378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6" name="Group 8"/>
          <p:cNvGrpSpPr/>
          <p:nvPr/>
        </p:nvGrpSpPr>
        <p:grpSpPr>
          <a:xfrm>
            <a:off x="179513" y="1052737"/>
            <a:ext cx="2777331" cy="2369073"/>
            <a:chOff x="282501" y="990979"/>
            <a:chExt cx="2777331" cy="2369073"/>
          </a:xfrm>
        </p:grpSpPr>
        <p:pic>
          <p:nvPicPr>
            <p:cNvPr id="37" name="Picture 4" descr="Image of European Union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956" t="941" r="18956" b="1966"/>
            <a:stretch/>
          </p:blipFill>
          <p:spPr bwMode="auto">
            <a:xfrm>
              <a:off x="353606" y="1331826"/>
              <a:ext cx="2041732" cy="2028226"/>
            </a:xfrm>
            <a:prstGeom prst="ellipse">
              <a:avLst/>
            </a:prstGeom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 Box 39"/>
            <p:cNvSpPr txBox="1">
              <a:spLocks noChangeArrowheads="1"/>
            </p:cNvSpPr>
            <p:nvPr/>
          </p:nvSpPr>
          <p:spPr bwMode="auto">
            <a:xfrm>
              <a:off x="282501" y="990979"/>
              <a:ext cx="2777331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smtClean="0">
                  <a:solidFill>
                    <a:schemeClr val="bg1"/>
                  </a:solidFill>
                  <a:latin typeface="Trebuchet MS" pitchFamily="34" charset="0"/>
                </a:rPr>
                <a:t>EU 28+</a:t>
              </a:r>
              <a:endParaRPr lang="en-US" dirty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</p:grpSp>
      <p:grpSp>
        <p:nvGrpSpPr>
          <p:cNvPr id="39" name="Group 12"/>
          <p:cNvGrpSpPr/>
          <p:nvPr/>
        </p:nvGrpSpPr>
        <p:grpSpPr>
          <a:xfrm>
            <a:off x="6372201" y="4995747"/>
            <a:ext cx="1566332" cy="1457590"/>
            <a:chOff x="6829253" y="3797351"/>
            <a:chExt cx="1895262" cy="1763684"/>
          </a:xfrm>
        </p:grpSpPr>
        <p:grpSp>
          <p:nvGrpSpPr>
            <p:cNvPr id="40" name="Group 5"/>
            <p:cNvGrpSpPr/>
            <p:nvPr/>
          </p:nvGrpSpPr>
          <p:grpSpPr>
            <a:xfrm>
              <a:off x="6829253" y="4088308"/>
              <a:ext cx="1472727" cy="1472727"/>
              <a:chOff x="4717645" y="3934685"/>
              <a:chExt cx="1472727" cy="1472727"/>
            </a:xfrm>
            <a:effectLst/>
          </p:grpSpPr>
          <p:sp>
            <p:nvSpPr>
              <p:cNvPr id="42" name="Rectangle 45"/>
              <p:cNvSpPr>
                <a:spLocks noChangeArrowheads="1"/>
              </p:cNvSpPr>
              <p:nvPr/>
            </p:nvSpPr>
            <p:spPr bwMode="auto">
              <a:xfrm>
                <a:off x="4717645" y="3934685"/>
                <a:ext cx="1472727" cy="1472727"/>
              </a:xfrm>
              <a:prstGeom prst="ellipse">
                <a:avLst/>
              </a:prstGeom>
              <a:solidFill>
                <a:schemeClr val="accent1"/>
              </a:solidFill>
              <a:ln w="38100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  <a:buFontTx/>
                  <a:buChar char="•"/>
                </a:pPr>
                <a:endParaRPr lang="nl-BE" b="0">
                  <a:latin typeface="Trebuchet MS" pitchFamily="34" charset="0"/>
                </a:endParaRPr>
              </a:p>
            </p:txBody>
          </p:sp>
          <p:pic>
            <p:nvPicPr>
              <p:cNvPr id="43" name="Picture 15" descr="Image of State Flag"/>
              <p:cNvPicPr>
                <a:picLocks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49398" y="4298598"/>
                <a:ext cx="491451" cy="3437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4" name="Picture 16" descr="Image of National Flag"/>
              <p:cNvPicPr>
                <a:picLocks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58502" y="4684478"/>
                <a:ext cx="491451" cy="3437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Picture 17" descr="Image of National Flag"/>
              <p:cNvPicPr>
                <a:picLocks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08104" y="4298598"/>
                <a:ext cx="491451" cy="3437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18" descr="Image of National Flag"/>
              <p:cNvPicPr>
                <a:picLocks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08104" y="4684478"/>
                <a:ext cx="491451" cy="3437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1" name="Text Box 43"/>
            <p:cNvSpPr txBox="1">
              <a:spLocks noChangeArrowheads="1"/>
            </p:cNvSpPr>
            <p:nvPr/>
          </p:nvSpPr>
          <p:spPr bwMode="auto">
            <a:xfrm>
              <a:off x="7497810" y="3797351"/>
              <a:ext cx="1226705" cy="3798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>
                  <a:latin typeface="Trebuchet MS" pitchFamily="34" charset="0"/>
                </a:rPr>
                <a:t>ALBA</a:t>
              </a:r>
              <a:endParaRPr lang="en-US" dirty="0">
                <a:latin typeface="Trebuchet MS" pitchFamily="34" charset="0"/>
              </a:endParaRPr>
            </a:p>
          </p:txBody>
        </p:sp>
      </p:grpSp>
      <p:pic>
        <p:nvPicPr>
          <p:cNvPr id="47" name="Picture 6"/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965" y="2136155"/>
            <a:ext cx="486852" cy="378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8" name="Group 9"/>
          <p:cNvGrpSpPr/>
          <p:nvPr/>
        </p:nvGrpSpPr>
        <p:grpSpPr>
          <a:xfrm>
            <a:off x="107504" y="3837930"/>
            <a:ext cx="2362461" cy="2615406"/>
            <a:chOff x="251520" y="3837930"/>
            <a:chExt cx="2362461" cy="2615406"/>
          </a:xfrm>
        </p:grpSpPr>
        <p:sp>
          <p:nvSpPr>
            <p:cNvPr id="49" name="Rectangle 32"/>
            <p:cNvSpPr>
              <a:spLocks noChangeArrowheads="1"/>
            </p:cNvSpPr>
            <p:nvPr/>
          </p:nvSpPr>
          <p:spPr bwMode="auto">
            <a:xfrm>
              <a:off x="395536" y="4181220"/>
              <a:ext cx="2218445" cy="2272116"/>
            </a:xfrm>
            <a:prstGeom prst="ellipse">
              <a:avLst/>
            </a:prstGeom>
            <a:solidFill>
              <a:schemeClr val="accent2"/>
            </a:solidFill>
            <a:ln w="38100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lnSpc>
                  <a:spcPct val="80000"/>
                </a:lnSpc>
                <a:spcBef>
                  <a:spcPct val="20000"/>
                </a:spcBef>
                <a:buFontTx/>
                <a:buChar char="•"/>
              </a:pPr>
              <a:endParaRPr lang="nl-BE" b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pic>
          <p:nvPicPr>
            <p:cNvPr id="50" name="Picture 23" descr="Image of National Flag"/>
            <p:cNvPicPr>
              <a:picLocks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0812" y="4340191"/>
              <a:ext cx="486852" cy="3129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1" name="Group 1"/>
            <p:cNvGrpSpPr/>
            <p:nvPr/>
          </p:nvGrpSpPr>
          <p:grpSpPr>
            <a:xfrm>
              <a:off x="611561" y="5029656"/>
              <a:ext cx="1066502" cy="1164674"/>
              <a:chOff x="483860" y="4380107"/>
              <a:chExt cx="1173152" cy="1281141"/>
            </a:xfrm>
            <a:effectLst/>
          </p:grpSpPr>
          <p:pic>
            <p:nvPicPr>
              <p:cNvPr id="57" name="Picture 13" descr="Image of National Flag "/>
              <p:cNvPicPr>
                <a:picLocks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6009" y="4380107"/>
                <a:ext cx="589091" cy="378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8" name="Picture 25" descr="Image of National Flag"/>
              <p:cNvPicPr>
                <a:picLocks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7921" y="4843876"/>
                <a:ext cx="589091" cy="378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9" name="Picture 26" descr="Image of National Flag "/>
              <p:cNvPicPr>
                <a:picLocks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3860" y="4386994"/>
                <a:ext cx="535537" cy="378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0" name="Picture 27" descr="Image of National Flag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4730" y="4849628"/>
                <a:ext cx="486853" cy="3836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1" name="Picture 28" descr="Image of National Flag"/>
              <p:cNvPicPr>
                <a:picLocks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7921" y="5282585"/>
                <a:ext cx="589091" cy="378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2" name="Text Box 33"/>
            <p:cNvSpPr txBox="1">
              <a:spLocks noChangeArrowheads="1"/>
            </p:cNvSpPr>
            <p:nvPr/>
          </p:nvSpPr>
          <p:spPr bwMode="auto">
            <a:xfrm>
              <a:off x="251520" y="3837930"/>
              <a:ext cx="2117600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err="1" smtClean="0">
                  <a:solidFill>
                    <a:schemeClr val="bg1"/>
                  </a:solidFill>
                  <a:latin typeface="Trebuchet MS" pitchFamily="34" charset="0"/>
                </a:rPr>
                <a:t>Umbrella</a:t>
              </a:r>
              <a:r>
                <a:rPr lang="nl-BE" dirty="0" smtClean="0">
                  <a:solidFill>
                    <a:schemeClr val="bg1"/>
                  </a:solidFill>
                  <a:latin typeface="Trebuchet MS" pitchFamily="34" charset="0"/>
                </a:rPr>
                <a:t> Group</a:t>
              </a:r>
              <a:r>
                <a:rPr lang="nl-BE" b="0" dirty="0" smtClean="0">
                  <a:solidFill>
                    <a:schemeClr val="bg1"/>
                  </a:solidFill>
                  <a:latin typeface="Trebuchet MS" pitchFamily="34" charset="0"/>
                </a:rPr>
                <a:t> </a:t>
              </a:r>
              <a:endParaRPr lang="en-US" b="0" dirty="0">
                <a:solidFill>
                  <a:schemeClr val="bg1"/>
                </a:solidFill>
                <a:latin typeface="Trebuchet MS" pitchFamily="34" charset="0"/>
              </a:endParaRPr>
            </a:p>
          </p:txBody>
        </p:sp>
        <p:grpSp>
          <p:nvGrpSpPr>
            <p:cNvPr id="53" name="Group 2"/>
            <p:cNvGrpSpPr/>
            <p:nvPr/>
          </p:nvGrpSpPr>
          <p:grpSpPr>
            <a:xfrm>
              <a:off x="1907704" y="4867731"/>
              <a:ext cx="486852" cy="1106548"/>
              <a:chOff x="1921454" y="4653136"/>
              <a:chExt cx="535537" cy="1217203"/>
            </a:xfrm>
            <a:effectLst/>
          </p:grpSpPr>
          <p:pic>
            <p:nvPicPr>
              <p:cNvPr id="54" name="Picture 29" descr="Image of National Flag"/>
              <p:cNvPicPr>
                <a:picLocks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1454" y="4653136"/>
                <a:ext cx="535537" cy="378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5" name="Picture 30" descr="Image of National Flag"/>
              <p:cNvPicPr>
                <a:picLocks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1454" y="5068288"/>
                <a:ext cx="535537" cy="378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6" name="Picture 2"/>
              <p:cNvPicPr>
                <a:picLocks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4105" y="5494633"/>
                <a:ext cx="530235" cy="3757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62" name="Group 15"/>
          <p:cNvGrpSpPr/>
          <p:nvPr/>
        </p:nvGrpSpPr>
        <p:grpSpPr>
          <a:xfrm>
            <a:off x="5652121" y="2852937"/>
            <a:ext cx="2807019" cy="1316831"/>
            <a:chOff x="5941445" y="2832249"/>
            <a:chExt cx="2807019" cy="1316831"/>
          </a:xfrm>
        </p:grpSpPr>
        <p:sp>
          <p:nvSpPr>
            <p:cNvPr id="63" name="Text Box 41"/>
            <p:cNvSpPr txBox="1">
              <a:spLocks noChangeArrowheads="1"/>
            </p:cNvSpPr>
            <p:nvPr/>
          </p:nvSpPr>
          <p:spPr bwMode="auto">
            <a:xfrm>
              <a:off x="7200652" y="2887894"/>
              <a:ext cx="1547812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en-US" dirty="0" smtClean="0">
                  <a:latin typeface="Trebuchet MS" pitchFamily="34" charset="0"/>
                </a:rPr>
                <a:t>AOSIS </a:t>
              </a:r>
              <a:r>
                <a:rPr lang="nl-BE" sz="1400" dirty="0" smtClean="0">
                  <a:latin typeface="Trebuchet MS" pitchFamily="34" charset="0"/>
                </a:rPr>
                <a:t>(39</a:t>
              </a:r>
              <a:r>
                <a:rPr lang="nl-BE" sz="1400" dirty="0">
                  <a:latin typeface="Trebuchet MS" pitchFamily="34" charset="0"/>
                </a:rPr>
                <a:t>)</a:t>
              </a:r>
              <a:endParaRPr lang="en-US" sz="1400" dirty="0">
                <a:latin typeface="Trebuchet MS" pitchFamily="34" charset="0"/>
              </a:endParaRPr>
            </a:p>
          </p:txBody>
        </p:sp>
        <p:pic>
          <p:nvPicPr>
            <p:cNvPr id="64" name="Picture 6" descr="http://1.bp.blogspot.com/_PlF5M492xZY/TCQcxWTdeMI/AAAAAAAABEc/ugc6wzlwKc4/s1600/G8G20+2010+AOSIS+final+new+pic.bmp"/>
            <p:cNvPicPr>
              <a:picLocks noChangeAspect="1" noChangeArrowheads="1"/>
            </p:cNvPicPr>
            <p:nvPr/>
          </p:nvPicPr>
          <p:blipFill rotWithShape="1">
            <a:blip r:embed="rId2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92" t="12070" r="16575" b="9356"/>
            <a:stretch/>
          </p:blipFill>
          <p:spPr bwMode="auto">
            <a:xfrm>
              <a:off x="5941445" y="2832249"/>
              <a:ext cx="1294851" cy="1316831"/>
            </a:xfrm>
            <a:prstGeom prst="ellipse">
              <a:avLst/>
            </a:prstGeom>
            <a:ln w="19050" cap="rnd">
              <a:solidFill>
                <a:schemeClr val="tx1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Group 10"/>
          <p:cNvGrpSpPr/>
          <p:nvPr/>
        </p:nvGrpSpPr>
        <p:grpSpPr>
          <a:xfrm>
            <a:off x="4746842" y="1700808"/>
            <a:ext cx="1769375" cy="1794066"/>
            <a:chOff x="4738482" y="1992836"/>
            <a:chExt cx="1769374" cy="1794066"/>
          </a:xfrm>
        </p:grpSpPr>
        <p:sp>
          <p:nvSpPr>
            <p:cNvPr id="66" name="Text Box 48"/>
            <p:cNvSpPr txBox="1">
              <a:spLocks noChangeArrowheads="1"/>
            </p:cNvSpPr>
            <p:nvPr/>
          </p:nvSpPr>
          <p:spPr bwMode="auto">
            <a:xfrm>
              <a:off x="4738482" y="1992836"/>
              <a:ext cx="1512887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err="1" smtClean="0">
                  <a:latin typeface="Trebuchet MS" pitchFamily="34" charset="0"/>
                </a:rPr>
                <a:t>LDCs</a:t>
              </a:r>
              <a:r>
                <a:rPr lang="nl-BE" sz="1400" dirty="0" smtClean="0">
                  <a:latin typeface="Trebuchet MS" pitchFamily="34" charset="0"/>
                </a:rPr>
                <a:t> (48</a:t>
              </a:r>
              <a:r>
                <a:rPr lang="nl-BE" sz="1400" dirty="0">
                  <a:latin typeface="Trebuchet MS" pitchFamily="34" charset="0"/>
                </a:rPr>
                <a:t>)</a:t>
              </a:r>
              <a:endParaRPr lang="en-US" sz="1400" dirty="0">
                <a:latin typeface="Trebuchet MS" pitchFamily="34" charset="0"/>
              </a:endParaRPr>
            </a:p>
          </p:txBody>
        </p:sp>
        <p:grpSp>
          <p:nvGrpSpPr>
            <p:cNvPr id="67" name="Group 7"/>
            <p:cNvGrpSpPr/>
            <p:nvPr/>
          </p:nvGrpSpPr>
          <p:grpSpPr>
            <a:xfrm>
              <a:off x="4938500" y="2303986"/>
              <a:ext cx="1569356" cy="1482916"/>
              <a:chOff x="4860032" y="2157832"/>
              <a:chExt cx="1726292" cy="1631208"/>
            </a:xfrm>
            <a:effectLst/>
          </p:grpSpPr>
          <p:sp>
            <p:nvSpPr>
              <p:cNvPr id="68" name="Rectangle 47"/>
              <p:cNvSpPr>
                <a:spLocks noChangeArrowheads="1"/>
              </p:cNvSpPr>
              <p:nvPr/>
            </p:nvSpPr>
            <p:spPr bwMode="auto">
              <a:xfrm>
                <a:off x="4860032" y="2157832"/>
                <a:ext cx="1726292" cy="1631208"/>
              </a:xfrm>
              <a:prstGeom prst="ellipse">
                <a:avLst/>
              </a:prstGeom>
              <a:solidFill>
                <a:schemeClr val="bg1">
                  <a:alpha val="30196"/>
                </a:schemeClr>
              </a:solidFill>
              <a:ln w="38100" algn="ctr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lnSpc>
                    <a:spcPct val="80000"/>
                  </a:lnSpc>
                  <a:spcBef>
                    <a:spcPct val="20000"/>
                  </a:spcBef>
                  <a:buFontTx/>
                  <a:buChar char="•"/>
                </a:pPr>
                <a:endParaRPr lang="nl-BE" b="0">
                  <a:latin typeface="Trebuchet MS" pitchFamily="34" charset="0"/>
                </a:endParaRPr>
              </a:p>
            </p:txBody>
          </p:sp>
          <p:pic>
            <p:nvPicPr>
              <p:cNvPr id="69" name="Picture 10" descr="http://ldcclimate.files.wordpress.com/2012/05/ldcmap.jpeg"/>
              <p:cNvPicPr>
                <a:picLocks noChangeAspect="1" noChangeArrowheads="1"/>
              </p:cNvPicPr>
              <p:nvPr/>
            </p:nvPicPr>
            <p:blipFill rotWithShape="1">
              <a:blip r:embed="rId2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483" t="16051" r="23780" b="6576"/>
              <a:stretch/>
            </p:blipFill>
            <p:spPr bwMode="auto">
              <a:xfrm>
                <a:off x="4932041" y="2581842"/>
                <a:ext cx="1080119" cy="847158"/>
              </a:xfrm>
              <a:prstGeom prst="ellipse">
                <a:avLst/>
              </a:prstGeom>
              <a:noFill/>
              <a:ln w="63500" cap="rnd">
                <a:noFill/>
              </a:ln>
              <a:effectLst/>
            </p:spPr>
          </p:pic>
        </p:grpSp>
      </p:grpSp>
      <p:grpSp>
        <p:nvGrpSpPr>
          <p:cNvPr id="70" name="Group 19"/>
          <p:cNvGrpSpPr/>
          <p:nvPr/>
        </p:nvGrpSpPr>
        <p:grpSpPr>
          <a:xfrm>
            <a:off x="5212996" y="4381758"/>
            <a:ext cx="2261995" cy="1567523"/>
            <a:chOff x="5793227" y="4381757"/>
            <a:chExt cx="2261995" cy="1567523"/>
          </a:xfrm>
        </p:grpSpPr>
        <p:sp>
          <p:nvSpPr>
            <p:cNvPr id="71" name="Rectangle 37"/>
            <p:cNvSpPr>
              <a:spLocks noChangeArrowheads="1"/>
            </p:cNvSpPr>
            <p:nvPr/>
          </p:nvSpPr>
          <p:spPr bwMode="auto">
            <a:xfrm>
              <a:off x="5793227" y="4381757"/>
              <a:ext cx="1640041" cy="1567523"/>
            </a:xfrm>
            <a:prstGeom prst="ellipse">
              <a:avLst/>
            </a:prstGeom>
            <a:solidFill>
              <a:srgbClr val="EBF2F2">
                <a:alpha val="41961"/>
              </a:srgbClr>
            </a:solidFill>
            <a:ln w="38100" algn="ctr">
              <a:solidFill>
                <a:schemeClr val="tx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lnSpc>
                  <a:spcPct val="80000"/>
                </a:lnSpc>
                <a:spcBef>
                  <a:spcPct val="20000"/>
                </a:spcBef>
                <a:buFontTx/>
                <a:buChar char="•"/>
              </a:pPr>
              <a:endParaRPr lang="nl-BE" b="0">
                <a:latin typeface="Trebuchet MS" pitchFamily="34" charset="0"/>
              </a:endParaRPr>
            </a:p>
          </p:txBody>
        </p:sp>
        <p:sp>
          <p:nvSpPr>
            <p:cNvPr id="72" name="Text Box 48"/>
            <p:cNvSpPr txBox="1">
              <a:spLocks noChangeArrowheads="1"/>
            </p:cNvSpPr>
            <p:nvPr/>
          </p:nvSpPr>
          <p:spPr bwMode="auto">
            <a:xfrm>
              <a:off x="6542335" y="4942047"/>
              <a:ext cx="1512887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smtClean="0">
                  <a:latin typeface="Trebuchet MS" pitchFamily="34" charset="0"/>
                </a:rPr>
                <a:t>LMDC</a:t>
              </a:r>
              <a:endParaRPr lang="en-US" dirty="0">
                <a:latin typeface="Trebuchet MS" pitchFamily="34" charset="0"/>
              </a:endParaRPr>
            </a:p>
          </p:txBody>
        </p:sp>
      </p:grpSp>
      <p:grpSp>
        <p:nvGrpSpPr>
          <p:cNvPr id="73" name="Group 73"/>
          <p:cNvGrpSpPr/>
          <p:nvPr/>
        </p:nvGrpSpPr>
        <p:grpSpPr>
          <a:xfrm>
            <a:off x="6903409" y="3264844"/>
            <a:ext cx="1495217" cy="1703767"/>
            <a:chOff x="1163282" y="389290"/>
            <a:chExt cx="1495217" cy="1703767"/>
          </a:xfrm>
        </p:grpSpPr>
        <p:sp>
          <p:nvSpPr>
            <p:cNvPr id="74" name="Rectangle 45"/>
            <p:cNvSpPr>
              <a:spLocks noChangeArrowheads="1"/>
            </p:cNvSpPr>
            <p:nvPr/>
          </p:nvSpPr>
          <p:spPr bwMode="auto">
            <a:xfrm>
              <a:off x="1163282" y="723786"/>
              <a:ext cx="1436584" cy="1369271"/>
            </a:xfrm>
            <a:prstGeom prst="ellipse">
              <a:avLst/>
            </a:prstGeom>
            <a:solidFill>
              <a:schemeClr val="accent1"/>
            </a:solidFill>
            <a:ln w="38100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lnSpc>
                  <a:spcPct val="80000"/>
                </a:lnSpc>
                <a:spcBef>
                  <a:spcPct val="20000"/>
                </a:spcBef>
                <a:buFontTx/>
                <a:buChar char="•"/>
              </a:pPr>
              <a:endParaRPr lang="nl-BE" b="0">
                <a:latin typeface="Trebuchet MS" pitchFamily="34" charset="0"/>
              </a:endParaRPr>
            </a:p>
          </p:txBody>
        </p:sp>
        <p:pic>
          <p:nvPicPr>
            <p:cNvPr id="75" name="Picture 2" descr="http://upload.wikimedia.org/wikipedia/commons/thumb/2/21/Flag_of_Colombia.svg/23px-Flag_of_Colombia.svg.png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236" y="1277184"/>
              <a:ext cx="426916" cy="2784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6" name="Picture 4" descr="http://upload.wikimedia.org/wikipedia/commons/thumb/f/f2/Flag_of_Costa_Rica.svg/23px-Flag_of_Costa_Rica.svg.png"/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236" y="1590700"/>
              <a:ext cx="426916" cy="259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6" descr="http://upload.wikimedia.org/wikipedia/commons/thumb/7/78/Flag_of_Chile.svg/23px-Flag_of_Chile.svg.png"/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9494" y="1271179"/>
              <a:ext cx="426916" cy="2784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8" descr="http://upload.wikimedia.org/wikipedia/commons/thumb/c/cf/Flag_of_Peru.svg/23px-Flag_of_Peru.svg.png"/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1488" y="960561"/>
              <a:ext cx="426916" cy="2784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10" descr="http://upload.wikimedia.org/wikipedia/commons/thumb/e/ec/Flag_of_Guatemala.svg/23px-Flag_of_Guatemala.svg.png"/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9494" y="960561"/>
              <a:ext cx="426916" cy="2598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12" descr="http://upload.wikimedia.org/wikipedia/commons/thumb/a/ab/Flag_of_Panama.svg/23px-Flag_of_Panama.svg.png"/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9494" y="1590700"/>
              <a:ext cx="426916" cy="2784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Text Box 43"/>
            <p:cNvSpPr txBox="1">
              <a:spLocks noChangeArrowheads="1"/>
            </p:cNvSpPr>
            <p:nvPr/>
          </p:nvSpPr>
          <p:spPr bwMode="auto">
            <a:xfrm>
              <a:off x="1644694" y="389290"/>
              <a:ext cx="1013805" cy="313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</a:pPr>
              <a:r>
                <a:rPr lang="nl-BE" dirty="0" smtClean="0">
                  <a:latin typeface="Trebuchet MS" pitchFamily="34" charset="0"/>
                </a:rPr>
                <a:t>AILAC</a:t>
              </a:r>
              <a:endParaRPr lang="en-US" dirty="0">
                <a:latin typeface="Trebuchet M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4784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/>
        </p:nvSpPr>
        <p:spPr>
          <a:xfrm>
            <a:off x="2195536" y="2204865"/>
            <a:ext cx="2643739" cy="2273237"/>
          </a:xfrm>
          <a:custGeom>
            <a:avLst/>
            <a:gdLst>
              <a:gd name="connsiteX0" fmla="*/ 0 w 1430194"/>
              <a:gd name="connsiteY0" fmla="*/ 931835 h 1863669"/>
              <a:gd name="connsiteX1" fmla="*/ 715097 w 1430194"/>
              <a:gd name="connsiteY1" fmla="*/ 0 h 1863669"/>
              <a:gd name="connsiteX2" fmla="*/ 1430194 w 1430194"/>
              <a:gd name="connsiteY2" fmla="*/ 931835 h 1863669"/>
              <a:gd name="connsiteX3" fmla="*/ 715097 w 1430194"/>
              <a:gd name="connsiteY3" fmla="*/ 1863670 h 1863669"/>
              <a:gd name="connsiteX4" fmla="*/ 0 w 1430194"/>
              <a:gd name="connsiteY4" fmla="*/ 931835 h 186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0194" h="1863669">
                <a:moveTo>
                  <a:pt x="715097" y="1"/>
                </a:moveTo>
                <a:cubicBezTo>
                  <a:pt x="1110034" y="1"/>
                  <a:pt x="1430194" y="417197"/>
                  <a:pt x="1430194" y="931834"/>
                </a:cubicBezTo>
                <a:cubicBezTo>
                  <a:pt x="1430194" y="1446472"/>
                  <a:pt x="1110034" y="1863668"/>
                  <a:pt x="715097" y="1863668"/>
                </a:cubicBezTo>
                <a:cubicBezTo>
                  <a:pt x="320160" y="1863668"/>
                  <a:pt x="0" y="1446472"/>
                  <a:pt x="0" y="931835"/>
                </a:cubicBezTo>
                <a:cubicBezTo>
                  <a:pt x="0" y="417197"/>
                  <a:pt x="320160" y="1"/>
                  <a:pt x="715097" y="1"/>
                </a:cubicBezTo>
                <a:close/>
              </a:path>
            </a:pathLst>
          </a:custGeom>
          <a:blipFill rotWithShape="0">
            <a:blip r:embed="rId2"/>
            <a:stretch>
              <a:fillRect/>
            </a:stretch>
          </a:blipFill>
          <a:ln>
            <a:noFill/>
          </a:ln>
          <a:effectLst/>
        </p:spPr>
        <p:style>
          <a:lnRef idx="3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lt1"/>
          </a:fontRef>
        </p:style>
        <p:txBody>
          <a:bodyPr spcFirstLastPara="0" vert="horz" wrap="square" lIns="333889" tIns="270407" rIns="333888" bIns="270408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nl-BE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715817" y="2012803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3115" tIns="339300" rIns="303116" bIns="339299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aptation</a:t>
            </a:r>
            <a:endParaRPr lang="nl-BE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3590343" y="44625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7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tigation</a:t>
            </a:r>
            <a:endParaRPr lang="nl-BE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5898183" y="4041559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7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port</a:t>
            </a:r>
            <a:endParaRPr lang="nl-BE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619377" y="4054482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1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3115" tIns="339300" rIns="303116" bIns="339299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orting, Accounting, Compliance</a:t>
            </a:r>
            <a:endParaRPr lang="nl-BE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316324" y="94043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1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7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jectives</a:t>
            </a:r>
            <a:endParaRPr lang="nl-BE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179313" y="2060849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3115" tIns="339300" rIns="303116" bIns="339299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7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nciples</a:t>
            </a:r>
            <a:endParaRPr lang="nl-BE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289671" y="4054482"/>
            <a:ext cx="2130003" cy="2398855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27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titutions</a:t>
            </a:r>
            <a:endParaRPr lang="nl-BE" sz="27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7452121" y="3789040"/>
            <a:ext cx="1001379" cy="1080120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1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ance</a:t>
            </a:r>
            <a:endParaRPr lang="nl-BE" sz="12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7963109" y="4725144"/>
            <a:ext cx="1001379" cy="1080120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11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-logy</a:t>
            </a:r>
            <a:endParaRPr lang="nl-BE" sz="11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7453546" y="5661248"/>
            <a:ext cx="1001379" cy="1080120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11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acity</a:t>
            </a:r>
            <a:endParaRPr lang="nl-BE" sz="1100" b="1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</a:t>
            </a:r>
            <a:r>
              <a:rPr lang="nl-BE" sz="11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ilding</a:t>
            </a:r>
            <a:endParaRPr lang="nl-BE" sz="11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6738260" y="44625"/>
            <a:ext cx="1433625" cy="1634129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earch and </a:t>
            </a:r>
            <a:r>
              <a:rPr lang="nl-BE" sz="14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atic</a:t>
            </a:r>
            <a:r>
              <a:rPr lang="nl-BE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14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servation</a:t>
            </a:r>
            <a:endParaRPr lang="nl-BE" sz="1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7530865" y="1412777"/>
            <a:ext cx="1433625" cy="1634129"/>
          </a:xfrm>
          <a:custGeom>
            <a:avLst/>
            <a:gdLst>
              <a:gd name="connsiteX0" fmla="*/ 0 w 1786135"/>
              <a:gd name="connsiteY0" fmla="*/ 776969 h 1553938"/>
              <a:gd name="connsiteX1" fmla="*/ 388485 w 1786135"/>
              <a:gd name="connsiteY1" fmla="*/ 0 h 1553938"/>
              <a:gd name="connsiteX2" fmla="*/ 1397651 w 1786135"/>
              <a:gd name="connsiteY2" fmla="*/ 0 h 1553938"/>
              <a:gd name="connsiteX3" fmla="*/ 1786135 w 1786135"/>
              <a:gd name="connsiteY3" fmla="*/ 776969 h 1553938"/>
              <a:gd name="connsiteX4" fmla="*/ 1397651 w 1786135"/>
              <a:gd name="connsiteY4" fmla="*/ 1553938 h 1553938"/>
              <a:gd name="connsiteX5" fmla="*/ 388485 w 1786135"/>
              <a:gd name="connsiteY5" fmla="*/ 1553938 h 1553938"/>
              <a:gd name="connsiteX6" fmla="*/ 0 w 1786135"/>
              <a:gd name="connsiteY6" fmla="*/ 776969 h 1553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86135" h="1553938">
                <a:moveTo>
                  <a:pt x="893067" y="0"/>
                </a:moveTo>
                <a:lnTo>
                  <a:pt x="1786134" y="337982"/>
                </a:lnTo>
                <a:lnTo>
                  <a:pt x="1786134" y="1215957"/>
                </a:lnTo>
                <a:lnTo>
                  <a:pt x="893068" y="1553938"/>
                </a:lnTo>
                <a:lnTo>
                  <a:pt x="1" y="1215957"/>
                </a:lnTo>
                <a:lnTo>
                  <a:pt x="1" y="337982"/>
                </a:lnTo>
                <a:lnTo>
                  <a:pt x="893067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1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2155" tIns="278340" rIns="242156" bIns="278339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BE" sz="1400" b="1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ducation</a:t>
            </a:r>
            <a:r>
              <a:rPr lang="nl-BE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training and public awareness</a:t>
            </a:r>
            <a:endParaRPr lang="nl-BE" sz="1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l-BE" dirty="0" smtClean="0"/>
              <a:t>Building Blocks of the </a:t>
            </a:r>
            <a:r>
              <a:rPr lang="nl-BE" dirty="0" err="1" smtClean="0"/>
              <a:t>climate</a:t>
            </a:r>
            <a:r>
              <a:rPr lang="nl-BE" dirty="0" smtClean="0"/>
              <a:t> regime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85396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25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75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2" grpId="0" animBg="1"/>
      <p:bldP spid="13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dirty="0" smtClean="0"/>
              <a:t>Key </a:t>
            </a:r>
            <a:r>
              <a:rPr lang="fr-BE" dirty="0" err="1" smtClean="0"/>
              <a:t>elements</a:t>
            </a:r>
            <a:r>
              <a:rPr lang="fr-BE" dirty="0" smtClean="0"/>
              <a:t> to </a:t>
            </a:r>
            <a:r>
              <a:rPr lang="fr-BE" dirty="0" err="1" smtClean="0"/>
              <a:t>be</a:t>
            </a:r>
            <a:r>
              <a:rPr lang="fr-BE" dirty="0" smtClean="0"/>
              <a:t> </a:t>
            </a:r>
            <a:r>
              <a:rPr lang="fr-BE" dirty="0" err="1" smtClean="0"/>
              <a:t>discussed</a:t>
            </a:r>
            <a:r>
              <a:rPr lang="fr-BE" dirty="0" smtClean="0"/>
              <a:t> </a:t>
            </a:r>
            <a:r>
              <a:rPr lang="fr-BE" dirty="0" err="1" smtClean="0"/>
              <a:t>at</a:t>
            </a:r>
            <a:r>
              <a:rPr lang="fr-BE" dirty="0" smtClean="0"/>
              <a:t> COP.21</a:t>
            </a:r>
            <a:endParaRPr lang="fr-BE" dirty="0"/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2641738561"/>
              </p:ext>
            </p:extLst>
          </p:nvPr>
        </p:nvGraphicFramePr>
        <p:xfrm>
          <a:off x="611560" y="980728"/>
          <a:ext cx="7416824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01297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AE4345D-AABF-44B8-953E-0B97593810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graphicEl>
                                              <a:dgm id="{2AE4345D-AABF-44B8-953E-0B97593810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graphicEl>
                                              <a:dgm id="{2AE4345D-AABF-44B8-953E-0B97593810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8A1559A-DDEA-47CB-958F-D1293037AA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graphicEl>
                                              <a:dgm id="{98A1559A-DDEA-47CB-958F-D1293037AA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graphicEl>
                                              <a:dgm id="{98A1559A-DDEA-47CB-958F-D1293037AA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BB8FEAB-1069-4BB7-AE44-CDE219FC03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graphicEl>
                                              <a:dgm id="{CBB8FEAB-1069-4BB7-AE44-CDE219FC03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graphicEl>
                                              <a:dgm id="{CBB8FEAB-1069-4BB7-AE44-CDE219FC03C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54EC82F-1F6B-47DA-90B5-789C880337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graphicEl>
                                              <a:dgm id="{154EC82F-1F6B-47DA-90B5-789C880337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graphicEl>
                                              <a:dgm id="{154EC82F-1F6B-47DA-90B5-789C880337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4D078D6-719E-4E9A-9671-96EF624E42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>
                                            <p:graphicEl>
                                              <a:dgm id="{04D078D6-719E-4E9A-9671-96EF624E42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>
                                            <p:graphicEl>
                                              <a:dgm id="{04D078D6-719E-4E9A-9671-96EF624E42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9EBD8E0-FF1A-426A-B380-DDB020EF32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graphicEl>
                                              <a:dgm id="{59EBD8E0-FF1A-426A-B380-DDB020EF32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graphicEl>
                                              <a:dgm id="{59EBD8E0-FF1A-426A-B380-DDB020EF321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B1A07024-7A7F-45B6-9CA9-A4C04ACE97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graphicEl>
                                              <a:dgm id="{B1A07024-7A7F-45B6-9CA9-A4C04ACE97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graphicEl>
                                              <a:dgm id="{B1A07024-7A7F-45B6-9CA9-A4C04ACE97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BCFD4AB-21E5-4649-90FB-9A46DC0DC2D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">
                                            <p:graphicEl>
                                              <a:dgm id="{ABCFD4AB-21E5-4649-90FB-9A46DC0DC2D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">
                                            <p:graphicEl>
                                              <a:dgm id="{ABCFD4AB-21E5-4649-90FB-9A46DC0DC2D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Key challenges </a:t>
            </a:r>
            <a:r>
              <a:rPr lang="fr-BE" dirty="0" smtClean="0"/>
              <a:t>(1) </a:t>
            </a:r>
            <a:r>
              <a:rPr lang="fr-BE" dirty="0"/>
              <a:t>: </a:t>
            </a:r>
            <a:r>
              <a:rPr lang="fr-BE" dirty="0" smtClean="0"/>
              <a:t>mitigation</a:t>
            </a:r>
            <a:endParaRPr lang="fr-BE" dirty="0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493308403"/>
              </p:ext>
            </p:extLst>
          </p:nvPr>
        </p:nvGraphicFramePr>
        <p:xfrm>
          <a:off x="539552" y="908720"/>
          <a:ext cx="741682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8038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CCD42E9-EF16-4684-8397-3E0B7D9531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graphicEl>
                                              <a:dgm id="{CCCD42E9-EF16-4684-8397-3E0B7D9531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graphicEl>
                                              <a:dgm id="{CCCD42E9-EF16-4684-8397-3E0B7D9531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4AA9A3F-81DC-4623-B964-7A5111B983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graphicEl>
                                              <a:dgm id="{24AA9A3F-81DC-4623-B964-7A5111B983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graphicEl>
                                              <a:dgm id="{24AA9A3F-81DC-4623-B964-7A5111B983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9199926-1AEA-4922-BAFC-56A5737B6E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>
                                            <p:graphicEl>
                                              <a:dgm id="{E9199926-1AEA-4922-BAFC-56A5737B6E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>
                                            <p:graphicEl>
                                              <a:dgm id="{E9199926-1AEA-4922-BAFC-56A5737B6E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CC15D6D-AC6F-4CBD-B88D-484DB5128A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>
                                            <p:graphicEl>
                                              <a:dgm id="{4CC15D6D-AC6F-4CBD-B88D-484DB5128A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>
                                            <p:graphicEl>
                                              <a:dgm id="{4CC15D6D-AC6F-4CBD-B88D-484DB5128A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66F3746-3758-4D14-B2E1-5C11F73D4C2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graphicEl>
                                              <a:dgm id="{C66F3746-3758-4D14-B2E1-5C11F73D4C2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graphicEl>
                                              <a:dgm id="{C66F3746-3758-4D14-B2E1-5C11F73D4C2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20F67A7-B949-41C5-9918-AEBE6D5B8A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graphicEl>
                                              <a:dgm id="{C20F67A7-B949-41C5-9918-AEBE6D5B8A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graphicEl>
                                              <a:dgm id="{C20F67A7-B949-41C5-9918-AEBE6D5B8A8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7BCF8D9-4C5D-4D25-A69D-EFF6FE739DB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>
                                            <p:graphicEl>
                                              <a:dgm id="{77BCF8D9-4C5D-4D25-A69D-EFF6FE739DB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>
                                            <p:graphicEl>
                                              <a:dgm id="{77BCF8D9-4C5D-4D25-A69D-EFF6FE739DB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A2F62C-45A4-4CA4-A950-429CDD7C32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">
                                            <p:graphicEl>
                                              <a:dgm id="{E1A2F62C-45A4-4CA4-A950-429CDD7C32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>
                                            <p:graphicEl>
                                              <a:dgm id="{E1A2F62C-45A4-4CA4-A950-429CDD7C32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Rectangle 3"/>
          <p:cNvSpPr>
            <a:spLocks noChangeArrowheads="1"/>
          </p:cNvSpPr>
          <p:nvPr/>
        </p:nvSpPr>
        <p:spPr bwMode="auto">
          <a:xfrm>
            <a:off x="1193801" y="1409700"/>
            <a:ext cx="6691313" cy="42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2" name="Line 4"/>
          <p:cNvSpPr>
            <a:spLocks noChangeShapeType="1"/>
          </p:cNvSpPr>
          <p:nvPr/>
        </p:nvSpPr>
        <p:spPr bwMode="auto">
          <a:xfrm>
            <a:off x="1193801" y="4911725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3" name="Line 5"/>
          <p:cNvSpPr>
            <a:spLocks noChangeShapeType="1"/>
          </p:cNvSpPr>
          <p:nvPr/>
        </p:nvSpPr>
        <p:spPr bwMode="auto">
          <a:xfrm>
            <a:off x="1193801" y="4211638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4" name="Line 6"/>
          <p:cNvSpPr>
            <a:spLocks noChangeShapeType="1"/>
          </p:cNvSpPr>
          <p:nvPr/>
        </p:nvSpPr>
        <p:spPr bwMode="auto">
          <a:xfrm>
            <a:off x="1193801" y="3511550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5" name="Line 7"/>
          <p:cNvSpPr>
            <a:spLocks noChangeShapeType="1"/>
          </p:cNvSpPr>
          <p:nvPr/>
        </p:nvSpPr>
        <p:spPr bwMode="auto">
          <a:xfrm>
            <a:off x="1193801" y="2811463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6" name="Line 8"/>
          <p:cNvSpPr>
            <a:spLocks noChangeShapeType="1"/>
          </p:cNvSpPr>
          <p:nvPr/>
        </p:nvSpPr>
        <p:spPr bwMode="auto">
          <a:xfrm>
            <a:off x="1193801" y="2111375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7" name="Line 9"/>
          <p:cNvSpPr>
            <a:spLocks noChangeShapeType="1"/>
          </p:cNvSpPr>
          <p:nvPr/>
        </p:nvSpPr>
        <p:spPr bwMode="auto">
          <a:xfrm>
            <a:off x="1193801" y="1409700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8" name="Line 10"/>
          <p:cNvSpPr>
            <a:spLocks noChangeShapeType="1"/>
          </p:cNvSpPr>
          <p:nvPr/>
        </p:nvSpPr>
        <p:spPr bwMode="auto">
          <a:xfrm>
            <a:off x="1798639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59" name="Line 11"/>
          <p:cNvSpPr>
            <a:spLocks noChangeShapeType="1"/>
          </p:cNvSpPr>
          <p:nvPr/>
        </p:nvSpPr>
        <p:spPr bwMode="auto">
          <a:xfrm>
            <a:off x="2416175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0" name="Line 12"/>
          <p:cNvSpPr>
            <a:spLocks noChangeShapeType="1"/>
          </p:cNvSpPr>
          <p:nvPr/>
        </p:nvSpPr>
        <p:spPr bwMode="auto">
          <a:xfrm>
            <a:off x="3021013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1" name="Line 13"/>
          <p:cNvSpPr>
            <a:spLocks noChangeShapeType="1"/>
          </p:cNvSpPr>
          <p:nvPr/>
        </p:nvSpPr>
        <p:spPr bwMode="auto">
          <a:xfrm>
            <a:off x="3625851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2" name="Line 14"/>
          <p:cNvSpPr>
            <a:spLocks noChangeShapeType="1"/>
          </p:cNvSpPr>
          <p:nvPr/>
        </p:nvSpPr>
        <p:spPr bwMode="auto">
          <a:xfrm>
            <a:off x="4230688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3" name="Line 15"/>
          <p:cNvSpPr>
            <a:spLocks noChangeShapeType="1"/>
          </p:cNvSpPr>
          <p:nvPr/>
        </p:nvSpPr>
        <p:spPr bwMode="auto">
          <a:xfrm>
            <a:off x="4848225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4" name="Line 16"/>
          <p:cNvSpPr>
            <a:spLocks noChangeShapeType="1"/>
          </p:cNvSpPr>
          <p:nvPr/>
        </p:nvSpPr>
        <p:spPr bwMode="auto">
          <a:xfrm>
            <a:off x="5453063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5" name="Line 17"/>
          <p:cNvSpPr>
            <a:spLocks noChangeShapeType="1"/>
          </p:cNvSpPr>
          <p:nvPr/>
        </p:nvSpPr>
        <p:spPr bwMode="auto">
          <a:xfrm>
            <a:off x="6057900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6" name="Line 18"/>
          <p:cNvSpPr>
            <a:spLocks noChangeShapeType="1"/>
          </p:cNvSpPr>
          <p:nvPr/>
        </p:nvSpPr>
        <p:spPr bwMode="auto">
          <a:xfrm>
            <a:off x="6662739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7" name="Line 19"/>
          <p:cNvSpPr>
            <a:spLocks noChangeShapeType="1"/>
          </p:cNvSpPr>
          <p:nvPr/>
        </p:nvSpPr>
        <p:spPr bwMode="auto">
          <a:xfrm>
            <a:off x="7280275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8" name="Line 20"/>
          <p:cNvSpPr>
            <a:spLocks noChangeShapeType="1"/>
          </p:cNvSpPr>
          <p:nvPr/>
        </p:nvSpPr>
        <p:spPr bwMode="auto">
          <a:xfrm>
            <a:off x="7885113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69" name="Rectangle 21"/>
          <p:cNvSpPr>
            <a:spLocks noChangeArrowheads="1"/>
          </p:cNvSpPr>
          <p:nvPr/>
        </p:nvSpPr>
        <p:spPr bwMode="auto">
          <a:xfrm>
            <a:off x="1193801" y="1409700"/>
            <a:ext cx="6691313" cy="4203700"/>
          </a:xfrm>
          <a:prstGeom prst="rect">
            <a:avLst/>
          </a:prstGeom>
          <a:noFill/>
          <a:ln w="12700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0" name="Line 22"/>
          <p:cNvSpPr>
            <a:spLocks noChangeShapeType="1"/>
          </p:cNvSpPr>
          <p:nvPr/>
        </p:nvSpPr>
        <p:spPr bwMode="auto">
          <a:xfrm>
            <a:off x="1193800" y="1409700"/>
            <a:ext cx="0" cy="42037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1" name="Line 23"/>
          <p:cNvSpPr>
            <a:spLocks noChangeShapeType="1"/>
          </p:cNvSpPr>
          <p:nvPr/>
        </p:nvSpPr>
        <p:spPr bwMode="auto">
          <a:xfrm>
            <a:off x="1144589" y="4911725"/>
            <a:ext cx="492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2" name="Line 24"/>
          <p:cNvSpPr>
            <a:spLocks noChangeShapeType="1"/>
          </p:cNvSpPr>
          <p:nvPr/>
        </p:nvSpPr>
        <p:spPr bwMode="auto">
          <a:xfrm>
            <a:off x="1144589" y="4211638"/>
            <a:ext cx="492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3" name="Line 25"/>
          <p:cNvSpPr>
            <a:spLocks noChangeShapeType="1"/>
          </p:cNvSpPr>
          <p:nvPr/>
        </p:nvSpPr>
        <p:spPr bwMode="auto">
          <a:xfrm>
            <a:off x="1144589" y="3511550"/>
            <a:ext cx="492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4" name="Line 26"/>
          <p:cNvSpPr>
            <a:spLocks noChangeShapeType="1"/>
          </p:cNvSpPr>
          <p:nvPr/>
        </p:nvSpPr>
        <p:spPr bwMode="auto">
          <a:xfrm>
            <a:off x="1144589" y="2811463"/>
            <a:ext cx="492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5" name="Line 27"/>
          <p:cNvSpPr>
            <a:spLocks noChangeShapeType="1"/>
          </p:cNvSpPr>
          <p:nvPr/>
        </p:nvSpPr>
        <p:spPr bwMode="auto">
          <a:xfrm>
            <a:off x="1144589" y="2111375"/>
            <a:ext cx="492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6" name="Line 28"/>
          <p:cNvSpPr>
            <a:spLocks noChangeShapeType="1"/>
          </p:cNvSpPr>
          <p:nvPr/>
        </p:nvSpPr>
        <p:spPr bwMode="auto">
          <a:xfrm>
            <a:off x="1144589" y="1409700"/>
            <a:ext cx="492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7" name="Line 29"/>
          <p:cNvSpPr>
            <a:spLocks noChangeShapeType="1"/>
          </p:cNvSpPr>
          <p:nvPr/>
        </p:nvSpPr>
        <p:spPr bwMode="auto">
          <a:xfrm>
            <a:off x="1193801" y="5613400"/>
            <a:ext cx="6691313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8" name="Line 30"/>
          <p:cNvSpPr>
            <a:spLocks noChangeShapeType="1"/>
          </p:cNvSpPr>
          <p:nvPr/>
        </p:nvSpPr>
        <p:spPr bwMode="auto">
          <a:xfrm flipV="1">
            <a:off x="3625851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79" name="Line 31"/>
          <p:cNvSpPr>
            <a:spLocks noChangeShapeType="1"/>
          </p:cNvSpPr>
          <p:nvPr/>
        </p:nvSpPr>
        <p:spPr bwMode="auto">
          <a:xfrm flipV="1">
            <a:off x="4230688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0" name="Line 32"/>
          <p:cNvSpPr>
            <a:spLocks noChangeShapeType="1"/>
          </p:cNvSpPr>
          <p:nvPr/>
        </p:nvSpPr>
        <p:spPr bwMode="auto">
          <a:xfrm flipV="1">
            <a:off x="4848225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1" name="Line 33"/>
          <p:cNvSpPr>
            <a:spLocks noChangeShapeType="1"/>
          </p:cNvSpPr>
          <p:nvPr/>
        </p:nvSpPr>
        <p:spPr bwMode="auto">
          <a:xfrm flipV="1">
            <a:off x="5453063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2" name="Line 34"/>
          <p:cNvSpPr>
            <a:spLocks noChangeShapeType="1"/>
          </p:cNvSpPr>
          <p:nvPr/>
        </p:nvSpPr>
        <p:spPr bwMode="auto">
          <a:xfrm flipV="1">
            <a:off x="6057900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3" name="Line 35"/>
          <p:cNvSpPr>
            <a:spLocks noChangeShapeType="1"/>
          </p:cNvSpPr>
          <p:nvPr/>
        </p:nvSpPr>
        <p:spPr bwMode="auto">
          <a:xfrm flipV="1">
            <a:off x="6662739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4" name="Line 36"/>
          <p:cNvSpPr>
            <a:spLocks noChangeShapeType="1"/>
          </p:cNvSpPr>
          <p:nvPr/>
        </p:nvSpPr>
        <p:spPr bwMode="auto">
          <a:xfrm flipV="1">
            <a:off x="7280275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5" name="Line 37"/>
          <p:cNvSpPr>
            <a:spLocks noChangeShapeType="1"/>
          </p:cNvSpPr>
          <p:nvPr/>
        </p:nvSpPr>
        <p:spPr bwMode="auto">
          <a:xfrm flipV="1">
            <a:off x="7885113" y="5613401"/>
            <a:ext cx="0" cy="4286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3286" name="Rectangle 38"/>
          <p:cNvSpPr>
            <a:spLocks noChangeArrowheads="1"/>
          </p:cNvSpPr>
          <p:nvPr/>
        </p:nvSpPr>
        <p:spPr bwMode="auto">
          <a:xfrm>
            <a:off x="950913" y="5526089"/>
            <a:ext cx="84960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87" name="Rectangle 39"/>
          <p:cNvSpPr>
            <a:spLocks noChangeArrowheads="1"/>
          </p:cNvSpPr>
          <p:nvPr/>
        </p:nvSpPr>
        <p:spPr bwMode="auto">
          <a:xfrm>
            <a:off x="866776" y="4826001"/>
            <a:ext cx="16991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88" name="Rectangle 40"/>
          <p:cNvSpPr>
            <a:spLocks noChangeArrowheads="1"/>
          </p:cNvSpPr>
          <p:nvPr/>
        </p:nvSpPr>
        <p:spPr bwMode="auto">
          <a:xfrm>
            <a:off x="866776" y="4125914"/>
            <a:ext cx="16991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4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89" name="Rectangle 41"/>
          <p:cNvSpPr>
            <a:spLocks noChangeArrowheads="1"/>
          </p:cNvSpPr>
          <p:nvPr/>
        </p:nvSpPr>
        <p:spPr bwMode="auto">
          <a:xfrm>
            <a:off x="866776" y="3425826"/>
            <a:ext cx="16991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6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0" name="Rectangle 42"/>
          <p:cNvSpPr>
            <a:spLocks noChangeArrowheads="1"/>
          </p:cNvSpPr>
          <p:nvPr/>
        </p:nvSpPr>
        <p:spPr bwMode="auto">
          <a:xfrm>
            <a:off x="866776" y="2725739"/>
            <a:ext cx="16991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8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1" name="Rectangle 43"/>
          <p:cNvSpPr>
            <a:spLocks noChangeArrowheads="1"/>
          </p:cNvSpPr>
          <p:nvPr/>
        </p:nvSpPr>
        <p:spPr bwMode="auto">
          <a:xfrm>
            <a:off x="782639" y="2024064"/>
            <a:ext cx="25487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10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2" name="Rectangle 44"/>
          <p:cNvSpPr>
            <a:spLocks noChangeArrowheads="1"/>
          </p:cNvSpPr>
          <p:nvPr/>
        </p:nvSpPr>
        <p:spPr bwMode="auto">
          <a:xfrm>
            <a:off x="782639" y="1323975"/>
            <a:ext cx="254878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12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3" name="Rectangle 45"/>
          <p:cNvSpPr>
            <a:spLocks noChangeArrowheads="1"/>
          </p:cNvSpPr>
          <p:nvPr/>
        </p:nvSpPr>
        <p:spPr bwMode="auto">
          <a:xfrm>
            <a:off x="1327150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0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4" name="Rectangle 46"/>
          <p:cNvSpPr>
            <a:spLocks noChangeArrowheads="1"/>
          </p:cNvSpPr>
          <p:nvPr/>
        </p:nvSpPr>
        <p:spPr bwMode="auto">
          <a:xfrm>
            <a:off x="1931989" y="5730876"/>
            <a:ext cx="328423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1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5" name="Rectangle 47"/>
          <p:cNvSpPr>
            <a:spLocks noChangeArrowheads="1"/>
          </p:cNvSpPr>
          <p:nvPr/>
        </p:nvSpPr>
        <p:spPr bwMode="auto">
          <a:xfrm>
            <a:off x="2547938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2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6" name="Rectangle 48"/>
          <p:cNvSpPr>
            <a:spLocks noChangeArrowheads="1"/>
          </p:cNvSpPr>
          <p:nvPr/>
        </p:nvSpPr>
        <p:spPr bwMode="auto">
          <a:xfrm>
            <a:off x="3152775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3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7" name="Rectangle 49"/>
          <p:cNvSpPr>
            <a:spLocks noChangeArrowheads="1"/>
          </p:cNvSpPr>
          <p:nvPr/>
        </p:nvSpPr>
        <p:spPr bwMode="auto">
          <a:xfrm>
            <a:off x="3759201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4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8" name="Rectangle 50"/>
          <p:cNvSpPr>
            <a:spLocks noChangeArrowheads="1"/>
          </p:cNvSpPr>
          <p:nvPr/>
        </p:nvSpPr>
        <p:spPr bwMode="auto">
          <a:xfrm>
            <a:off x="4375150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5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299" name="Rectangle 51"/>
          <p:cNvSpPr>
            <a:spLocks noChangeArrowheads="1"/>
          </p:cNvSpPr>
          <p:nvPr/>
        </p:nvSpPr>
        <p:spPr bwMode="auto">
          <a:xfrm>
            <a:off x="4979989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6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300" name="Rectangle 52"/>
          <p:cNvSpPr>
            <a:spLocks noChangeArrowheads="1"/>
          </p:cNvSpPr>
          <p:nvPr/>
        </p:nvSpPr>
        <p:spPr bwMode="auto">
          <a:xfrm>
            <a:off x="5584826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7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301" name="Rectangle 53"/>
          <p:cNvSpPr>
            <a:spLocks noChangeArrowheads="1"/>
          </p:cNvSpPr>
          <p:nvPr/>
        </p:nvSpPr>
        <p:spPr bwMode="auto">
          <a:xfrm>
            <a:off x="6191250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8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302" name="Rectangle 54"/>
          <p:cNvSpPr>
            <a:spLocks noChangeArrowheads="1"/>
          </p:cNvSpPr>
          <p:nvPr/>
        </p:nvSpPr>
        <p:spPr bwMode="auto">
          <a:xfrm>
            <a:off x="6807201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19</a:t>
            </a: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53303" name="Rectangle 55"/>
          <p:cNvSpPr>
            <a:spLocks noChangeArrowheads="1"/>
          </p:cNvSpPr>
          <p:nvPr/>
        </p:nvSpPr>
        <p:spPr bwMode="auto">
          <a:xfrm>
            <a:off x="7412038" y="5730876"/>
            <a:ext cx="33983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2020</a:t>
            </a:r>
            <a:endParaRPr lang="en-US" sz="1200" smtClean="0">
              <a:solidFill>
                <a:srgbClr val="000000"/>
              </a:solidFill>
            </a:endParaRPr>
          </a:p>
        </p:txBody>
      </p:sp>
      <p:grpSp>
        <p:nvGrpSpPr>
          <p:cNvPr id="211000" name="Group 56"/>
          <p:cNvGrpSpPr>
            <a:grpSpLocks/>
          </p:cNvGrpSpPr>
          <p:nvPr/>
        </p:nvGrpSpPr>
        <p:grpSpPr bwMode="auto">
          <a:xfrm>
            <a:off x="1144589" y="5267325"/>
            <a:ext cx="1876425" cy="388938"/>
            <a:chOff x="834" y="2997"/>
            <a:chExt cx="1182" cy="245"/>
          </a:xfrm>
        </p:grpSpPr>
        <p:sp>
          <p:nvSpPr>
            <p:cNvPr id="53313" name="Rectangle 57"/>
            <p:cNvSpPr>
              <a:spLocks noChangeArrowheads="1"/>
            </p:cNvSpPr>
            <p:nvPr/>
          </p:nvSpPr>
          <p:spPr bwMode="auto">
            <a:xfrm>
              <a:off x="865" y="2997"/>
              <a:ext cx="381" cy="218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BE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4" name="Rectangle 58"/>
            <p:cNvSpPr>
              <a:spLocks noChangeArrowheads="1"/>
            </p:cNvSpPr>
            <p:nvPr/>
          </p:nvSpPr>
          <p:spPr bwMode="auto">
            <a:xfrm>
              <a:off x="1246" y="2997"/>
              <a:ext cx="389" cy="218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BE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5" name="Rectangle 59"/>
            <p:cNvSpPr>
              <a:spLocks noChangeArrowheads="1"/>
            </p:cNvSpPr>
            <p:nvPr/>
          </p:nvSpPr>
          <p:spPr bwMode="auto">
            <a:xfrm>
              <a:off x="1635" y="2997"/>
              <a:ext cx="381" cy="218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BE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6" name="Line 60"/>
            <p:cNvSpPr>
              <a:spLocks noChangeShapeType="1"/>
            </p:cNvSpPr>
            <p:nvPr/>
          </p:nvSpPr>
          <p:spPr bwMode="auto">
            <a:xfrm>
              <a:off x="834" y="3215"/>
              <a:ext cx="3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7" name="Line 61"/>
            <p:cNvSpPr>
              <a:spLocks noChangeShapeType="1"/>
            </p:cNvSpPr>
            <p:nvPr/>
          </p:nvSpPr>
          <p:spPr bwMode="auto">
            <a:xfrm flipV="1">
              <a:off x="865" y="3215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8" name="Line 62"/>
            <p:cNvSpPr>
              <a:spLocks noChangeShapeType="1"/>
            </p:cNvSpPr>
            <p:nvPr/>
          </p:nvSpPr>
          <p:spPr bwMode="auto">
            <a:xfrm flipV="1">
              <a:off x="1246" y="3215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9" name="Line 63"/>
            <p:cNvSpPr>
              <a:spLocks noChangeShapeType="1"/>
            </p:cNvSpPr>
            <p:nvPr/>
          </p:nvSpPr>
          <p:spPr bwMode="auto">
            <a:xfrm flipV="1">
              <a:off x="1635" y="3215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20" name="Line 64"/>
            <p:cNvSpPr>
              <a:spLocks noChangeShapeType="1"/>
            </p:cNvSpPr>
            <p:nvPr/>
          </p:nvSpPr>
          <p:spPr bwMode="auto">
            <a:xfrm flipV="1">
              <a:off x="2016" y="3215"/>
              <a:ext cx="0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21" name="Text Box 65"/>
            <p:cNvSpPr txBox="1">
              <a:spLocks noChangeArrowheads="1"/>
            </p:cNvSpPr>
            <p:nvPr/>
          </p:nvSpPr>
          <p:spPr bwMode="auto">
            <a:xfrm>
              <a:off x="1159" y="3027"/>
              <a:ext cx="630" cy="182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lnSpc>
                  <a:spcPct val="8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nl-BE" sz="1600" smtClean="0">
                  <a:solidFill>
                    <a:srgbClr val="000000"/>
                  </a:solidFill>
                  <a:latin typeface="Trebuchet MS" pitchFamily="34" charset="0"/>
                </a:rPr>
                <a:t>30 GUSD</a:t>
              </a:r>
              <a:endParaRPr lang="en-US" sz="1600" smtClean="0">
                <a:solidFill>
                  <a:srgbClr val="000000"/>
                </a:solidFill>
                <a:latin typeface="Trebuchet MS" pitchFamily="34" charset="0"/>
              </a:endParaRPr>
            </a:p>
          </p:txBody>
        </p:sp>
      </p:grpSp>
      <p:grpSp>
        <p:nvGrpSpPr>
          <p:cNvPr id="211010" name="Group 66"/>
          <p:cNvGrpSpPr>
            <a:grpSpLocks/>
          </p:cNvGrpSpPr>
          <p:nvPr/>
        </p:nvGrpSpPr>
        <p:grpSpPr bwMode="auto">
          <a:xfrm>
            <a:off x="6985001" y="1763713"/>
            <a:ext cx="1120776" cy="3849687"/>
            <a:chOff x="4513" y="790"/>
            <a:chExt cx="706" cy="2425"/>
          </a:xfrm>
        </p:grpSpPr>
        <p:sp>
          <p:nvSpPr>
            <p:cNvPr id="53311" name="Rectangle 67"/>
            <p:cNvSpPr>
              <a:spLocks noChangeArrowheads="1"/>
            </p:cNvSpPr>
            <p:nvPr/>
          </p:nvSpPr>
          <p:spPr bwMode="auto">
            <a:xfrm>
              <a:off x="4699" y="1009"/>
              <a:ext cx="381" cy="2206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BE" b="1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3312" name="Text Box 68"/>
            <p:cNvSpPr txBox="1">
              <a:spLocks noChangeArrowheads="1"/>
            </p:cNvSpPr>
            <p:nvPr/>
          </p:nvSpPr>
          <p:spPr bwMode="auto">
            <a:xfrm>
              <a:off x="4513" y="790"/>
              <a:ext cx="706" cy="1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fontAlgn="base" hangingPunct="1">
                <a:lnSpc>
                  <a:spcPct val="8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nl-BE" sz="1600" smtClean="0">
                  <a:solidFill>
                    <a:srgbClr val="000000"/>
                  </a:solidFill>
                  <a:latin typeface="Trebuchet MS" pitchFamily="34" charset="0"/>
                </a:rPr>
                <a:t>100 GUSD</a:t>
              </a:r>
              <a:endParaRPr lang="en-US" sz="1600" smtClean="0">
                <a:solidFill>
                  <a:srgbClr val="000000"/>
                </a:solidFill>
                <a:latin typeface="Trebuchet MS" pitchFamily="34" charset="0"/>
              </a:endParaRPr>
            </a:p>
          </p:txBody>
        </p:sp>
      </p:grpSp>
      <p:sp>
        <p:nvSpPr>
          <p:cNvPr id="211013" name="Line 69"/>
          <p:cNvSpPr>
            <a:spLocks noChangeShapeType="1"/>
          </p:cNvSpPr>
          <p:nvPr/>
        </p:nvSpPr>
        <p:spPr bwMode="auto">
          <a:xfrm flipV="1">
            <a:off x="3024189" y="2127251"/>
            <a:ext cx="4248151" cy="3127375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11014" name="Text Box 70"/>
          <p:cNvSpPr txBox="1">
            <a:spLocks noChangeArrowheads="1"/>
          </p:cNvSpPr>
          <p:nvPr/>
        </p:nvSpPr>
        <p:spPr bwMode="auto">
          <a:xfrm>
            <a:off x="144463" y="3714751"/>
            <a:ext cx="2855012" cy="1384995"/>
          </a:xfrm>
          <a:prstGeom prst="rect">
            <a:avLst/>
          </a:prstGeom>
          <a:solidFill>
            <a:schemeClr val="bg1">
              <a:alpha val="70195"/>
            </a:schemeClr>
          </a:solidFill>
          <a:ln w="285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</a:pPr>
            <a:r>
              <a:rPr lang="nl-BE" sz="1400" smtClean="0">
                <a:solidFill>
                  <a:srgbClr val="000000"/>
                </a:solidFill>
                <a:latin typeface="Trebuchet MS" pitchFamily="34" charset="0"/>
              </a:rPr>
              <a:t>Fast Start Finance:</a:t>
            </a:r>
          </a:p>
          <a:p>
            <a:pPr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r>
              <a:rPr lang="nl-BE" sz="1400" b="0" smtClean="0">
                <a:solidFill>
                  <a:srgbClr val="000000"/>
                </a:solidFill>
                <a:latin typeface="Trebuchet MS" pitchFamily="34" charset="0"/>
              </a:rPr>
              <a:t>new and additional resources</a:t>
            </a:r>
          </a:p>
          <a:p>
            <a:pPr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r>
              <a:rPr lang="nl-BE" sz="1400" b="0" smtClean="0">
                <a:solidFill>
                  <a:srgbClr val="000000"/>
                </a:solidFill>
                <a:latin typeface="Trebuchet MS" pitchFamily="34" charset="0"/>
              </a:rPr>
              <a:t>balanced adaptation/mitigation</a:t>
            </a:r>
          </a:p>
          <a:p>
            <a:pPr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r>
              <a:rPr lang="nl-BE" sz="1400" b="0" smtClean="0">
                <a:solidFill>
                  <a:srgbClr val="000000"/>
                </a:solidFill>
                <a:latin typeface="Trebuchet MS" pitchFamily="34" charset="0"/>
              </a:rPr>
              <a:t>priority to LDCs, SIDS and Africa</a:t>
            </a:r>
          </a:p>
          <a:p>
            <a:pPr eaLnBrk="1" fontAlgn="base" hangingPunct="1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r>
              <a:rPr lang="nl-BE" sz="1400" b="0" smtClean="0">
                <a:solidFill>
                  <a:srgbClr val="000000"/>
                </a:solidFill>
                <a:latin typeface="Trebuchet MS" pitchFamily="34" charset="0"/>
              </a:rPr>
              <a:t>annual reporting + compilation</a:t>
            </a:r>
            <a:endParaRPr lang="en-US" sz="1400" b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211015" name="Text Box 71"/>
          <p:cNvSpPr txBox="1">
            <a:spLocks noChangeArrowheads="1"/>
          </p:cNvSpPr>
          <p:nvPr/>
        </p:nvSpPr>
        <p:spPr bwMode="auto">
          <a:xfrm>
            <a:off x="4897439" y="3001964"/>
            <a:ext cx="4067175" cy="2225225"/>
          </a:xfrm>
          <a:prstGeom prst="rect">
            <a:avLst/>
          </a:prstGeom>
          <a:solidFill>
            <a:schemeClr val="bg1">
              <a:alpha val="70195"/>
            </a:schemeClr>
          </a:solidFill>
          <a:ln w="285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71463" indent="-271463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</a:pPr>
            <a:r>
              <a:rPr lang="nl-BE" sz="1400" smtClean="0">
                <a:solidFill>
                  <a:srgbClr val="000000"/>
                </a:solidFill>
                <a:latin typeface="Trebuchet MS" pitchFamily="34" charset="0"/>
              </a:rPr>
              <a:t>Long Term Finance:</a:t>
            </a:r>
            <a:endParaRPr lang="en-US" sz="1400" smtClean="0">
              <a:solidFill>
                <a:srgbClr val="000000"/>
              </a:solidFill>
              <a:latin typeface="Trebuchet MS" pitchFamily="34" charset="0"/>
            </a:endParaRP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scaled-up, </a:t>
            </a: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new and additional, </a:t>
            </a: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predictable </a:t>
            </a: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adequate</a:t>
            </a:r>
          </a:p>
          <a:p>
            <a:pPr eaLnBrk="1" fontAlgn="base" hangingPunct="1">
              <a:lnSpc>
                <a:spcPct val="80000"/>
              </a:lnSpc>
              <a:spcBef>
                <a:spcPct val="6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wide variety of sources</a:t>
            </a: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public and private</a:t>
            </a: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bilateral and multilateral</a:t>
            </a:r>
          </a:p>
          <a:p>
            <a:pPr eaLnBrk="1" fontAlgn="base" hangingPunct="1">
              <a:lnSpc>
                <a:spcPct val="80000"/>
              </a:lnSpc>
              <a:spcBef>
                <a:spcPct val="10000"/>
              </a:spcBef>
              <a:spcAft>
                <a:spcPct val="0"/>
              </a:spcAft>
              <a:buFontTx/>
              <a:buChar char="•"/>
            </a:pPr>
            <a:r>
              <a:rPr lang="en-US" sz="1400" b="0" smtClean="0">
                <a:solidFill>
                  <a:srgbClr val="000000"/>
                </a:solidFill>
                <a:latin typeface="Trebuchet MS" pitchFamily="34" charset="0"/>
              </a:rPr>
              <a:t>alternative sources</a:t>
            </a:r>
          </a:p>
          <a:p>
            <a:pPr eaLnBrk="1" fontAlgn="base" hangingPunct="1">
              <a:lnSpc>
                <a:spcPct val="80000"/>
              </a:lnSpc>
              <a:spcBef>
                <a:spcPct val="60000"/>
              </a:spcBef>
              <a:spcAft>
                <a:spcPct val="0"/>
              </a:spcAft>
              <a:buFontTx/>
              <a:buChar char="•"/>
            </a:pPr>
            <a:r>
              <a:rPr lang="nl-BE" sz="1400" b="0" smtClean="0">
                <a:solidFill>
                  <a:srgbClr val="000000"/>
                </a:solidFill>
                <a:latin typeface="Trebuchet MS" pitchFamily="34" charset="0"/>
              </a:rPr>
              <a:t>GCF: significant share of adaptation funding</a:t>
            </a:r>
            <a:endParaRPr lang="en-US" sz="1400" b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75" name="Text Placeholder 2"/>
          <p:cNvSpPr txBox="1">
            <a:spLocks/>
          </p:cNvSpPr>
          <p:nvPr/>
        </p:nvSpPr>
        <p:spPr>
          <a:xfrm>
            <a:off x="304800" y="188640"/>
            <a:ext cx="8077200" cy="420960"/>
          </a:xfrm>
          <a:prstGeom prst="rect">
            <a:avLst/>
          </a:prstGeom>
        </p:spPr>
        <p:txBody>
          <a:bodyPr>
            <a:noAutofit/>
          </a:bodyPr>
          <a:lstStyle>
            <a:lvl1pPr marL="180975" marR="0" indent="-180975" algn="l" rtl="0" eaLnBrk="1" latinLnBrk="0" hangingPunct="1">
              <a:spcBef>
                <a:spcPct val="20000"/>
              </a:spcBef>
              <a:buClr>
                <a:schemeClr val="accent2">
                  <a:lumMod val="50000"/>
                </a:schemeClr>
              </a:buClr>
              <a:buFont typeface="Arial" pitchFamily="34" charset="0"/>
              <a:buChar char="•"/>
              <a:defRPr sz="2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96850" algn="l" rtl="0" eaLnBrk="1" latinLnBrk="0" hangingPunct="1">
              <a:spcBef>
                <a:spcPct val="20000"/>
              </a:spcBef>
              <a:buClr>
                <a:schemeClr val="accent5">
                  <a:lumMod val="50000"/>
                </a:schemeClr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95263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90600" indent="-193675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193675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endParaRPr lang="en-GB" sz="2000" kern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Key</a:t>
            </a:r>
            <a:r>
              <a:rPr lang="nl-BE" dirty="0" smtClean="0"/>
              <a:t> </a:t>
            </a:r>
            <a:r>
              <a:rPr lang="nl-BE" dirty="0" err="1" smtClean="0"/>
              <a:t>challenges</a:t>
            </a:r>
            <a:r>
              <a:rPr lang="nl-BE" dirty="0" smtClean="0"/>
              <a:t> (2) : </a:t>
            </a:r>
            <a:r>
              <a:rPr lang="nl-BE" dirty="0" err="1" smtClean="0"/>
              <a:t>financ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0599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0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10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0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0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110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110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1013" grpId="0" animBg="1"/>
      <p:bldP spid="211014" grpId="0" animBg="1"/>
      <p:bldP spid="2110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sz="2400" dirty="0" smtClean="0"/>
              <a:t>Sensibilisation et éducation: activités du Service fédéral Changements climatiques (SPF – DG Environnement)</a:t>
            </a:r>
            <a:endParaRPr lang="fr-BE" sz="2400" dirty="0"/>
          </a:p>
        </p:txBody>
      </p:sp>
      <p:sp>
        <p:nvSpPr>
          <p:cNvPr id="4" name="Rectangle 5"/>
          <p:cNvSpPr txBox="1">
            <a:spLocks noChangeArrowheads="1"/>
          </p:cNvSpPr>
          <p:nvPr/>
        </p:nvSpPr>
        <p:spPr>
          <a:xfrm>
            <a:off x="304800" y="692696"/>
            <a:ext cx="8227640" cy="555570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2675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10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indent="-271463"/>
            <a:endParaRPr lang="nl-BE" sz="2800" b="1" kern="0" dirty="0" smtClean="0"/>
          </a:p>
          <a:p>
            <a:pPr indent="-271463"/>
            <a:endParaRPr lang="nl-BE" sz="1400" b="1" kern="0" dirty="0" smtClean="0"/>
          </a:p>
          <a:p>
            <a:pPr marL="185737" indent="-457200">
              <a:buFontTx/>
              <a:buChar char="-"/>
            </a:pPr>
            <a:endParaRPr lang="nl-BE" sz="1400" b="1" kern="0" dirty="0" smtClean="0"/>
          </a:p>
          <a:p>
            <a:pPr marL="71437" indent="-342900">
              <a:buFontTx/>
              <a:buChar char="-"/>
            </a:pPr>
            <a:endParaRPr lang="en-US" sz="1400" kern="0" dirty="0" smtClean="0"/>
          </a:p>
          <a:p>
            <a:pPr indent="-271463"/>
            <a:endParaRPr lang="nl-BE" sz="1400" kern="0" dirty="0" smtClean="0"/>
          </a:p>
          <a:p>
            <a:pPr indent="-271463"/>
            <a:endParaRPr lang="en-US" sz="1400" kern="0" dirty="0" smtClean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04800" y="764704"/>
            <a:ext cx="8077200" cy="5483696"/>
          </a:xfrm>
          <a:prstGeom prst="rect">
            <a:avLst/>
          </a:prstGeom>
        </p:spPr>
        <p:txBody>
          <a:bodyPr/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2675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10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indent="-271462"/>
            <a:r>
              <a:rPr lang="nl-BE" kern="0" dirty="0" smtClean="0"/>
              <a:t>     </a:t>
            </a:r>
          </a:p>
          <a:p>
            <a:pPr indent="-271462"/>
            <a:r>
              <a:rPr lang="nl-BE" kern="0" dirty="0" smtClean="0"/>
              <a:t>       </a:t>
            </a:r>
            <a:endParaRPr lang="en-US" kern="0" dirty="0" smtClean="0"/>
          </a:p>
        </p:txBody>
      </p:sp>
      <p:sp>
        <p:nvSpPr>
          <p:cNvPr id="6" name="Rechthoek 2"/>
          <p:cNvSpPr/>
          <p:nvPr/>
        </p:nvSpPr>
        <p:spPr>
          <a:xfrm>
            <a:off x="323528" y="836712"/>
            <a:ext cx="8136904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BE" b="1" dirty="0" err="1" smtClean="0"/>
              <a:t>Diffusion</a:t>
            </a:r>
            <a:r>
              <a:rPr lang="nl-BE" b="1" dirty="0" smtClean="0"/>
              <a:t> de </a:t>
            </a:r>
            <a:r>
              <a:rPr lang="nl-BE" b="1" dirty="0" err="1" smtClean="0"/>
              <a:t>l’information</a:t>
            </a:r>
            <a:r>
              <a:rPr lang="nl-BE" b="1" dirty="0" smtClean="0"/>
              <a:t> vers les </a:t>
            </a:r>
            <a:r>
              <a:rPr lang="nl-BE" b="1" dirty="0" err="1" smtClean="0"/>
              <a:t>écoles</a:t>
            </a:r>
            <a:endParaRPr lang="nl-BE" dirty="0" smtClean="0"/>
          </a:p>
          <a:p>
            <a:pPr>
              <a:defRPr/>
            </a:pPr>
            <a:endParaRPr lang="nl-BE" sz="1000" dirty="0"/>
          </a:p>
          <a:p>
            <a:pPr>
              <a:defRPr/>
            </a:pPr>
            <a:endParaRPr lang="nl-BE" sz="400" u="sng" dirty="0"/>
          </a:p>
          <a:p>
            <a:pPr>
              <a:defRPr/>
            </a:pPr>
            <a:r>
              <a:rPr lang="nl-BE" dirty="0" smtClean="0"/>
              <a:t>       </a:t>
            </a:r>
            <a:r>
              <a:rPr lang="nl-BE" u="sng" dirty="0" smtClean="0"/>
              <a:t>1aire &amp; 2aire </a:t>
            </a:r>
            <a:r>
              <a:rPr lang="nl-BE" dirty="0" smtClean="0"/>
              <a:t>                  	       </a:t>
            </a:r>
            <a:r>
              <a:rPr lang="nl-BE" u="sng" dirty="0" smtClean="0"/>
              <a:t>Secondaire</a:t>
            </a:r>
            <a:r>
              <a:rPr lang="nl-BE" dirty="0"/>
              <a:t>		  </a:t>
            </a:r>
            <a:r>
              <a:rPr lang="nl-BE" dirty="0" smtClean="0"/>
              <a:t>      </a:t>
            </a:r>
            <a:r>
              <a:rPr lang="nl-BE" u="sng" dirty="0" err="1" smtClean="0"/>
              <a:t>Ecoles</a:t>
            </a:r>
            <a:r>
              <a:rPr lang="nl-BE" u="sng" dirty="0" smtClean="0"/>
              <a:t> </a:t>
            </a:r>
            <a:r>
              <a:rPr lang="nl-BE" u="sng" dirty="0" err="1" smtClean="0"/>
              <a:t>supérieures</a:t>
            </a:r>
            <a:endParaRPr lang="nl-BE" u="sng" dirty="0"/>
          </a:p>
          <a:p>
            <a:pPr>
              <a:defRPr/>
            </a:pPr>
            <a:r>
              <a:rPr lang="nl-BE" dirty="0" smtClean="0"/>
              <a:t>        (10 - 14 </a:t>
            </a:r>
            <a:r>
              <a:rPr lang="nl-BE" dirty="0" err="1" smtClean="0"/>
              <a:t>ans</a:t>
            </a:r>
            <a:r>
              <a:rPr lang="nl-BE" dirty="0" smtClean="0"/>
              <a:t>)</a:t>
            </a:r>
            <a:r>
              <a:rPr lang="nl-BE" dirty="0"/>
              <a:t>		</a:t>
            </a:r>
            <a:r>
              <a:rPr lang="nl-BE" dirty="0" smtClean="0"/>
              <a:t>      (15 – 18 </a:t>
            </a:r>
            <a:r>
              <a:rPr lang="nl-BE" dirty="0" err="1" smtClean="0"/>
              <a:t>ans</a:t>
            </a:r>
            <a:r>
              <a:rPr lang="nl-BE" dirty="0" smtClean="0"/>
              <a:t>) </a:t>
            </a:r>
            <a:r>
              <a:rPr lang="nl-BE" dirty="0"/>
              <a:t>		 </a:t>
            </a:r>
            <a:r>
              <a:rPr lang="nl-BE" dirty="0" smtClean="0"/>
              <a:t>               (&gt; 18 </a:t>
            </a:r>
            <a:r>
              <a:rPr lang="nl-BE" dirty="0" err="1"/>
              <a:t>ans</a:t>
            </a:r>
            <a:r>
              <a:rPr lang="nl-BE" dirty="0"/>
              <a:t>) </a:t>
            </a:r>
          </a:p>
          <a:p>
            <a:pPr>
              <a:defRPr/>
            </a:pPr>
            <a:endParaRPr lang="nl-BE" sz="1000" dirty="0" smtClean="0"/>
          </a:p>
          <a:p>
            <a:pPr>
              <a:defRPr/>
            </a:pPr>
            <a:r>
              <a:rPr lang="nl-BE" dirty="0"/>
              <a:t> </a:t>
            </a:r>
            <a:r>
              <a:rPr lang="nl-BE" dirty="0" smtClean="0"/>
              <a:t>   dossier </a:t>
            </a:r>
            <a:r>
              <a:rPr lang="nl-BE" dirty="0" err="1" smtClean="0"/>
              <a:t>éducatif</a:t>
            </a:r>
            <a:r>
              <a:rPr lang="nl-BE" dirty="0" smtClean="0"/>
              <a:t>	                </a:t>
            </a:r>
            <a:r>
              <a:rPr lang="nl-BE" dirty="0" smtClean="0">
                <a:hlinkClick r:id="rId2"/>
              </a:rPr>
              <a:t>www.climatechallenge.be</a:t>
            </a:r>
            <a:r>
              <a:rPr lang="nl-BE" dirty="0" smtClean="0"/>
              <a:t>	      </a:t>
            </a:r>
            <a:r>
              <a:rPr lang="nl-BE" dirty="0" err="1" smtClean="0"/>
              <a:t>sessions</a:t>
            </a:r>
            <a:r>
              <a:rPr lang="nl-BE" dirty="0" smtClean="0"/>
              <a:t> </a:t>
            </a:r>
            <a:r>
              <a:rPr lang="nl-BE" dirty="0"/>
              <a:t>de </a:t>
            </a:r>
            <a:r>
              <a:rPr lang="nl-BE" dirty="0" err="1"/>
              <a:t>formation</a:t>
            </a:r>
            <a:r>
              <a:rPr lang="nl-BE" dirty="0"/>
              <a:t> </a:t>
            </a:r>
            <a:r>
              <a:rPr lang="nl-BE" dirty="0" smtClean="0"/>
              <a:t>						      pour les </a:t>
            </a:r>
            <a:r>
              <a:rPr lang="nl-BE" dirty="0" err="1" smtClean="0"/>
              <a:t>futurs</a:t>
            </a:r>
            <a:r>
              <a:rPr lang="nl-BE" dirty="0"/>
              <a:t> </a:t>
            </a:r>
            <a:r>
              <a:rPr lang="nl-BE" dirty="0" smtClean="0"/>
              <a:t>							      </a:t>
            </a:r>
            <a:r>
              <a:rPr lang="nl-BE" dirty="0" err="1" smtClean="0"/>
              <a:t>enseignants</a:t>
            </a:r>
            <a:endParaRPr lang="nl-BE" dirty="0" smtClean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r>
              <a:rPr lang="nl-BE" dirty="0" smtClean="0"/>
              <a:t>		               </a:t>
            </a:r>
          </a:p>
          <a:p>
            <a:pPr>
              <a:defRPr/>
            </a:pPr>
            <a:endParaRPr lang="nl-BE" dirty="0"/>
          </a:p>
          <a:p>
            <a:pPr>
              <a:defRPr/>
            </a:pPr>
            <a:r>
              <a:rPr lang="nl-BE" dirty="0"/>
              <a:t> </a:t>
            </a:r>
            <a:r>
              <a:rPr lang="nl-BE" dirty="0" smtClean="0"/>
              <a:t>        6000 </a:t>
            </a:r>
            <a:r>
              <a:rPr lang="nl-BE" dirty="0"/>
              <a:t>fardes</a:t>
            </a:r>
            <a:endParaRPr lang="nl-BE" dirty="0" smtClean="0"/>
          </a:p>
          <a:p>
            <a:pPr>
              <a:defRPr/>
            </a:pPr>
            <a:r>
              <a:rPr lang="nl-BE" dirty="0"/>
              <a:t>	</a:t>
            </a:r>
            <a:r>
              <a:rPr lang="nl-BE" dirty="0" smtClean="0"/>
              <a:t>	          + </a:t>
            </a:r>
            <a:r>
              <a:rPr lang="nl-BE" dirty="0" err="1" smtClean="0"/>
              <a:t>conférences</a:t>
            </a:r>
            <a:r>
              <a:rPr lang="nl-BE" dirty="0" smtClean="0"/>
              <a:t> de </a:t>
            </a:r>
            <a:r>
              <a:rPr lang="nl-BE" dirty="0" err="1" smtClean="0"/>
              <a:t>négociation</a:t>
            </a:r>
            <a:endParaRPr lang="nl-BE" dirty="0" smtClean="0"/>
          </a:p>
          <a:p>
            <a:pPr>
              <a:defRPr/>
            </a:pPr>
            <a:r>
              <a:rPr lang="nl-BE" dirty="0"/>
              <a:t>	</a:t>
            </a:r>
            <a:r>
              <a:rPr lang="nl-BE" dirty="0" smtClean="0"/>
              <a:t>	          à </a:t>
            </a:r>
            <a:r>
              <a:rPr lang="nl-BE" dirty="0" err="1" smtClean="0"/>
              <a:t>l’école</a:t>
            </a:r>
            <a:r>
              <a:rPr lang="nl-BE" dirty="0" smtClean="0"/>
              <a:t>/au parlement </a:t>
            </a:r>
            <a:r>
              <a:rPr lang="nl-BE" dirty="0" err="1" smtClean="0"/>
              <a:t>européen</a:t>
            </a:r>
            <a:r>
              <a:rPr lang="nl-BE" dirty="0" smtClean="0"/>
              <a:t> </a:t>
            </a:r>
            <a:r>
              <a:rPr lang="nl-BE" dirty="0"/>
              <a:t>			</a:t>
            </a:r>
          </a:p>
        </p:txBody>
      </p:sp>
      <p:pic>
        <p:nvPicPr>
          <p:cNvPr id="7" name="Picture 2" descr="G:\DG5_KYOTO\Communication\internet\www.klimaat.be\contenu\illustraties\educatief_dossi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708920"/>
            <a:ext cx="1516062" cy="187325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2606679"/>
            <a:ext cx="2808311" cy="319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3CC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99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G:\DG5_KYOTO\Communication\internet\www.klimaat.be\contenu\illustraties\dossier_éducatif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356992"/>
            <a:ext cx="1680455" cy="2065983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Rechte verbindingslijn 6"/>
          <p:cNvCxnSpPr/>
          <p:nvPr/>
        </p:nvCxnSpPr>
        <p:spPr>
          <a:xfrm>
            <a:off x="2627784" y="1412776"/>
            <a:ext cx="0" cy="49685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14"/>
          <p:cNvCxnSpPr/>
          <p:nvPr/>
        </p:nvCxnSpPr>
        <p:spPr>
          <a:xfrm>
            <a:off x="5940152" y="1412776"/>
            <a:ext cx="0" cy="49685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912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691680" y="548680"/>
            <a:ext cx="6912768" cy="5832648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8400"/>
              </a:spcAft>
              <a:buFont typeface="+mj-lt"/>
              <a:buAutoNum type="arabicPeriod"/>
            </a:pPr>
            <a:r>
              <a:rPr lang="fr-BE" sz="2800" dirty="0" smtClean="0"/>
              <a:t>Long </a:t>
            </a:r>
            <a:r>
              <a:rPr lang="fr-BE" sz="2800" dirty="0" err="1" smtClean="0"/>
              <a:t>term</a:t>
            </a:r>
            <a:r>
              <a:rPr lang="fr-BE" sz="2800" dirty="0" smtClean="0"/>
              <a:t> goal: 2°C</a:t>
            </a:r>
          </a:p>
          <a:p>
            <a:pPr marL="342900" indent="-342900">
              <a:spcAft>
                <a:spcPts val="8400"/>
              </a:spcAft>
              <a:buFont typeface="+mj-lt"/>
              <a:buAutoNum type="arabicPeriod"/>
            </a:pPr>
            <a:r>
              <a:rPr lang="fr-BE" sz="2800" dirty="0" err="1" smtClean="0"/>
              <a:t>Carbon</a:t>
            </a:r>
            <a:r>
              <a:rPr lang="fr-BE" sz="2800" dirty="0" smtClean="0"/>
              <a:t> budget &amp; </a:t>
            </a:r>
            <a:r>
              <a:rPr lang="fr-BE" sz="2800" dirty="0" err="1" smtClean="0"/>
              <a:t>emissions</a:t>
            </a:r>
            <a:r>
              <a:rPr lang="fr-BE" sz="2800" dirty="0" smtClean="0"/>
              <a:t> gap</a:t>
            </a:r>
          </a:p>
          <a:p>
            <a:pPr marL="342900" indent="-342900">
              <a:spcAft>
                <a:spcPts val="8400"/>
              </a:spcAft>
              <a:buFont typeface="+mj-lt"/>
              <a:buAutoNum type="arabicPeriod"/>
            </a:pPr>
            <a:r>
              <a:rPr lang="fr-BE" sz="2800" dirty="0" smtClean="0"/>
              <a:t>Transition </a:t>
            </a:r>
            <a:r>
              <a:rPr lang="fr-BE" sz="2800" dirty="0" err="1" smtClean="0"/>
              <a:t>towards</a:t>
            </a:r>
            <a:r>
              <a:rPr lang="fr-BE" sz="2800" dirty="0" smtClean="0"/>
              <a:t> </a:t>
            </a:r>
            <a:r>
              <a:rPr lang="fr-BE" sz="2800" dirty="0" err="1" smtClean="0"/>
              <a:t>low-carbon</a:t>
            </a:r>
            <a:r>
              <a:rPr lang="fr-BE" sz="2800" dirty="0" smtClean="0"/>
              <a:t> </a:t>
            </a:r>
            <a:r>
              <a:rPr lang="fr-BE" sz="2800" dirty="0" err="1" smtClean="0"/>
              <a:t>economy</a:t>
            </a:r>
            <a:endParaRPr lang="fr-BE" sz="2800" dirty="0" smtClean="0"/>
          </a:p>
          <a:p>
            <a:pPr marL="342900" indent="-342900">
              <a:spcAft>
                <a:spcPts val="8400"/>
              </a:spcAft>
              <a:buFont typeface="+mj-lt"/>
              <a:buAutoNum type="arabicPeriod"/>
            </a:pPr>
            <a:r>
              <a:rPr lang="fr-BE" sz="2800" dirty="0" smtClean="0"/>
              <a:t>COP.21: headlines and key challenges</a:t>
            </a:r>
            <a:endParaRPr lang="fr-BE" sz="28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15" y="4869160"/>
            <a:ext cx="1440160" cy="1440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 descr="https://d3n8a8pro7vhmx.cloudfront.net/to350/pages/220/attachments/original/1424630551/Thermometer2.png?142463055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43" y="86636"/>
            <a:ext cx="968105" cy="1470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874" y="1844824"/>
            <a:ext cx="1332843" cy="1086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12"/>
          <p:cNvGrpSpPr>
            <a:grpSpLocks/>
          </p:cNvGrpSpPr>
          <p:nvPr/>
        </p:nvGrpSpPr>
        <p:grpSpPr bwMode="auto">
          <a:xfrm>
            <a:off x="395536" y="3212976"/>
            <a:ext cx="1080120" cy="1584176"/>
            <a:chOff x="295" y="300"/>
            <a:chExt cx="2715" cy="3674"/>
          </a:xfrm>
        </p:grpSpPr>
        <p:grpSp>
          <p:nvGrpSpPr>
            <p:cNvPr id="9" name="Group 10"/>
            <p:cNvGrpSpPr>
              <a:grpSpLocks/>
            </p:cNvGrpSpPr>
            <p:nvPr/>
          </p:nvGrpSpPr>
          <p:grpSpPr bwMode="auto">
            <a:xfrm>
              <a:off x="295" y="300"/>
              <a:ext cx="2715" cy="3674"/>
              <a:chOff x="295" y="300"/>
              <a:chExt cx="2715" cy="3674"/>
            </a:xfrm>
          </p:grpSpPr>
          <p:pic>
            <p:nvPicPr>
              <p:cNvPr id="11" name="Picture 8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" y="300"/>
                <a:ext cx="2715" cy="36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" name="Freeform 9"/>
              <p:cNvSpPr>
                <a:spLocks/>
              </p:cNvSpPr>
              <p:nvPr/>
            </p:nvSpPr>
            <p:spPr bwMode="auto">
              <a:xfrm>
                <a:off x="1655" y="890"/>
                <a:ext cx="499" cy="1905"/>
              </a:xfrm>
              <a:custGeom>
                <a:avLst/>
                <a:gdLst>
                  <a:gd name="T0" fmla="*/ 0 w 454"/>
                  <a:gd name="T1" fmla="*/ 136 h 1905"/>
                  <a:gd name="T2" fmla="*/ 454 w 454"/>
                  <a:gd name="T3" fmla="*/ 0 h 1905"/>
                  <a:gd name="T4" fmla="*/ 454 w 454"/>
                  <a:gd name="T5" fmla="*/ 1905 h 1905"/>
                  <a:gd name="T6" fmla="*/ 0 w 454"/>
                  <a:gd name="T7" fmla="*/ 1860 h 1905"/>
                  <a:gd name="T8" fmla="*/ 0 w 454"/>
                  <a:gd name="T9" fmla="*/ 136 h 19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4" h="1905">
                    <a:moveTo>
                      <a:pt x="0" y="136"/>
                    </a:moveTo>
                    <a:lnTo>
                      <a:pt x="454" y="0"/>
                    </a:lnTo>
                    <a:lnTo>
                      <a:pt x="454" y="1905"/>
                    </a:lnTo>
                    <a:lnTo>
                      <a:pt x="0" y="1860"/>
                    </a:lnTo>
                    <a:lnTo>
                      <a:pt x="0" y="13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endParaRPr lang="fr-BE"/>
              </a:p>
            </p:txBody>
          </p:sp>
        </p:grpSp>
        <p:sp>
          <p:nvSpPr>
            <p:cNvPr id="10" name="WordArt 11"/>
            <p:cNvSpPr>
              <a:spLocks noChangeArrowheads="1" noChangeShapeType="1" noTextEdit="1"/>
            </p:cNvSpPr>
            <p:nvPr/>
          </p:nvSpPr>
          <p:spPr bwMode="auto">
            <a:xfrm>
              <a:off x="1519" y="2976"/>
              <a:ext cx="817" cy="504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SlantUp">
                <a:avLst>
                  <a:gd name="adj" fmla="val 55556"/>
                </a:avLst>
              </a:prstTxWarp>
            </a:bodyPr>
            <a:lstStyle/>
            <a:p>
              <a:pPr algn="ctr"/>
              <a:r>
                <a:rPr lang="fr-BE" sz="3600" kern="10"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 Black"/>
                </a:rPr>
                <a:t>Post CO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572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sz="2400" dirty="0" smtClean="0"/>
              <a:t>Sensibilisation et éducation: activités du Service fédéral Changements climatiques (SPF – DG Environnement)</a:t>
            </a:r>
            <a:endParaRPr lang="fr-BE" sz="2400" dirty="0"/>
          </a:p>
        </p:txBody>
      </p:sp>
      <p:sp>
        <p:nvSpPr>
          <p:cNvPr id="3" name="Rectangle 5"/>
          <p:cNvSpPr txBox="1">
            <a:spLocks noChangeArrowheads="1"/>
          </p:cNvSpPr>
          <p:nvPr/>
        </p:nvSpPr>
        <p:spPr>
          <a:xfrm>
            <a:off x="304800" y="1113656"/>
            <a:ext cx="8227640" cy="555570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2675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10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indent="-271463"/>
            <a:endParaRPr lang="nl-BE" sz="2800" b="1" kern="0" dirty="0" smtClean="0"/>
          </a:p>
          <a:p>
            <a:pPr indent="-271463"/>
            <a:endParaRPr lang="nl-BE" sz="1400" b="1" kern="0" dirty="0" smtClean="0"/>
          </a:p>
          <a:p>
            <a:pPr marL="185737" indent="-457200">
              <a:buFontTx/>
              <a:buChar char="-"/>
            </a:pPr>
            <a:endParaRPr lang="nl-BE" sz="1400" b="1" kern="0" dirty="0" smtClean="0"/>
          </a:p>
          <a:p>
            <a:pPr marL="71437" indent="-342900">
              <a:buFontTx/>
              <a:buChar char="-"/>
            </a:pPr>
            <a:endParaRPr lang="en-US" sz="1400" kern="0" dirty="0" smtClean="0"/>
          </a:p>
          <a:p>
            <a:pPr indent="-271463"/>
            <a:endParaRPr lang="nl-BE" sz="1400" kern="0" dirty="0" smtClean="0"/>
          </a:p>
          <a:p>
            <a:pPr indent="-271463"/>
            <a:endParaRPr lang="en-US" sz="1400" kern="0" dirty="0" smtClean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04800" y="1185664"/>
            <a:ext cx="8077200" cy="5483696"/>
          </a:xfrm>
          <a:prstGeom prst="rect">
            <a:avLst/>
          </a:prstGeom>
        </p:spPr>
        <p:txBody>
          <a:bodyPr/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138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2675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100" indent="-285750" algn="l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indent="-271462"/>
            <a:r>
              <a:rPr lang="nl-BE" kern="0" dirty="0" smtClean="0"/>
              <a:t>     </a:t>
            </a:r>
          </a:p>
          <a:p>
            <a:pPr indent="-271462"/>
            <a:r>
              <a:rPr lang="nl-BE" kern="0" dirty="0" smtClean="0"/>
              <a:t>       </a:t>
            </a:r>
            <a:endParaRPr lang="en-US" kern="0" dirty="0" smtClean="0"/>
          </a:p>
        </p:txBody>
      </p:sp>
      <p:sp>
        <p:nvSpPr>
          <p:cNvPr id="5" name="Rechthoek 2"/>
          <p:cNvSpPr/>
          <p:nvPr/>
        </p:nvSpPr>
        <p:spPr>
          <a:xfrm>
            <a:off x="323528" y="1257672"/>
            <a:ext cx="7992888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nl-BE" b="1" dirty="0" smtClean="0"/>
              <a:t>En </a:t>
            </a:r>
            <a:r>
              <a:rPr lang="nl-BE" b="1" dirty="0" err="1" smtClean="0"/>
              <a:t>construction</a:t>
            </a:r>
            <a:r>
              <a:rPr lang="nl-BE" b="1" dirty="0" smtClean="0"/>
              <a:t>: “My 2050 BE”</a:t>
            </a:r>
          </a:p>
          <a:p>
            <a:pPr>
              <a:defRPr/>
            </a:pPr>
            <a:endParaRPr lang="nl-BE" b="1" dirty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endParaRPr lang="nl-BE" dirty="0" smtClean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/>
          </a:p>
          <a:p>
            <a:pPr>
              <a:defRPr/>
            </a:pPr>
            <a:endParaRPr lang="nl-BE" dirty="0" smtClean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nl-BE" dirty="0" smtClean="0"/>
              <a:t>Site </a:t>
            </a:r>
            <a:r>
              <a:rPr lang="nl-BE" dirty="0" err="1" smtClean="0"/>
              <a:t>éducatif</a:t>
            </a:r>
            <a:r>
              <a:rPr lang="nl-BE" dirty="0" smtClean="0"/>
              <a:t> </a:t>
            </a:r>
            <a:r>
              <a:rPr lang="nl-BE" dirty="0" err="1" smtClean="0"/>
              <a:t>interactif</a:t>
            </a:r>
            <a:r>
              <a:rPr lang="nl-BE" dirty="0" smtClean="0"/>
              <a:t> </a:t>
            </a:r>
          </a:p>
          <a:p>
            <a:pPr>
              <a:spcAft>
                <a:spcPts val="600"/>
              </a:spcAft>
              <a:defRPr/>
            </a:pPr>
            <a:r>
              <a:rPr lang="nl-BE" dirty="0"/>
              <a:t>(</a:t>
            </a:r>
            <a:r>
              <a:rPr lang="nl-BE" dirty="0" err="1"/>
              <a:t>partenariat</a:t>
            </a:r>
            <a:r>
              <a:rPr lang="nl-BE" dirty="0"/>
              <a:t> </a:t>
            </a:r>
            <a:r>
              <a:rPr lang="nl-BE" dirty="0" err="1"/>
              <a:t>avec</a:t>
            </a:r>
            <a:r>
              <a:rPr lang="nl-BE" dirty="0"/>
              <a:t> </a:t>
            </a:r>
            <a:r>
              <a:rPr lang="nl-BE" dirty="0" err="1"/>
              <a:t>Climact</a:t>
            </a:r>
            <a:r>
              <a:rPr lang="nl-BE" dirty="0"/>
              <a:t>, Potsdam </a:t>
            </a:r>
            <a:r>
              <a:rPr lang="nl-BE" dirty="0" err="1"/>
              <a:t>Institute</a:t>
            </a:r>
            <a:r>
              <a:rPr lang="nl-BE" dirty="0"/>
              <a:t> et </a:t>
            </a:r>
            <a:r>
              <a:rPr lang="nl-BE" dirty="0" err="1"/>
              <a:t>le</a:t>
            </a:r>
            <a:r>
              <a:rPr lang="nl-BE" dirty="0"/>
              <a:t> WWF</a:t>
            </a:r>
            <a:r>
              <a:rPr lang="nl-BE" dirty="0" smtClean="0"/>
              <a:t>)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nl-BE" dirty="0" err="1" smtClean="0"/>
              <a:t>Cibles</a:t>
            </a:r>
            <a:r>
              <a:rPr lang="nl-BE" dirty="0" smtClean="0"/>
              <a:t>:</a:t>
            </a:r>
          </a:p>
          <a:p>
            <a:pPr marL="742950" lvl="1" indent="-285750">
              <a:buFont typeface="Arial" pitchFamily="34" charset="0"/>
              <a:buChar char="•"/>
              <a:defRPr/>
            </a:pPr>
            <a:r>
              <a:rPr lang="nl-BE" dirty="0" err="1" smtClean="0"/>
              <a:t>écoles</a:t>
            </a:r>
            <a:r>
              <a:rPr lang="nl-BE" dirty="0" smtClean="0"/>
              <a:t> (3</a:t>
            </a:r>
            <a:r>
              <a:rPr lang="nl-BE" baseline="30000" dirty="0" smtClean="0"/>
              <a:t>ème</a:t>
            </a:r>
            <a:r>
              <a:rPr lang="nl-BE" dirty="0" smtClean="0"/>
              <a:t> </a:t>
            </a:r>
            <a:r>
              <a:rPr lang="nl-BE" dirty="0" err="1" smtClean="0"/>
              <a:t>degré</a:t>
            </a:r>
            <a:r>
              <a:rPr lang="nl-BE" dirty="0" smtClean="0"/>
              <a:t> du 2</a:t>
            </a:r>
            <a:r>
              <a:rPr lang="nl-BE" baseline="30000" dirty="0" smtClean="0"/>
              <a:t>aire</a:t>
            </a:r>
            <a:r>
              <a:rPr lang="nl-BE" dirty="0" smtClean="0"/>
              <a:t>) </a:t>
            </a:r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nl-BE" dirty="0" smtClean="0"/>
              <a:t>grand public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nl-BE" dirty="0" err="1" smtClean="0"/>
              <a:t>Objectifs</a:t>
            </a:r>
            <a:r>
              <a:rPr lang="nl-BE" dirty="0" smtClean="0"/>
              <a:t>:</a:t>
            </a:r>
            <a:endParaRPr lang="nl-BE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nl-BE" dirty="0" err="1" smtClean="0"/>
              <a:t>sensibiliser</a:t>
            </a:r>
            <a:r>
              <a:rPr lang="nl-BE" dirty="0" smtClean="0"/>
              <a:t> </a:t>
            </a:r>
            <a:r>
              <a:rPr lang="nl-BE" dirty="0" err="1" smtClean="0"/>
              <a:t>aux</a:t>
            </a:r>
            <a:r>
              <a:rPr lang="nl-BE" dirty="0" smtClean="0"/>
              <a:t> </a:t>
            </a:r>
            <a:r>
              <a:rPr lang="nl-BE" dirty="0" err="1" smtClean="0"/>
              <a:t>défis</a:t>
            </a:r>
            <a:r>
              <a:rPr lang="nl-BE" dirty="0" smtClean="0"/>
              <a:t> de la </a:t>
            </a:r>
            <a:r>
              <a:rPr lang="nl-BE" dirty="0" err="1" smtClean="0"/>
              <a:t>transition</a:t>
            </a:r>
            <a:r>
              <a:rPr lang="nl-BE" dirty="0" smtClean="0"/>
              <a:t> bas-</a:t>
            </a:r>
            <a:r>
              <a:rPr lang="nl-BE" dirty="0" err="1" smtClean="0"/>
              <a:t>carbone</a:t>
            </a:r>
            <a:endParaRPr lang="nl-BE" dirty="0"/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nl-BE" dirty="0" smtClean="0"/>
              <a:t>faire </a:t>
            </a:r>
            <a:r>
              <a:rPr lang="nl-BE" dirty="0" err="1" smtClean="0"/>
              <a:t>réfléchir</a:t>
            </a:r>
            <a:r>
              <a:rPr lang="nl-BE" dirty="0" smtClean="0"/>
              <a:t> </a:t>
            </a:r>
            <a:r>
              <a:rPr lang="nl-BE" dirty="0" err="1" smtClean="0"/>
              <a:t>sur</a:t>
            </a:r>
            <a:r>
              <a:rPr lang="nl-BE" dirty="0" smtClean="0"/>
              <a:t> les </a:t>
            </a:r>
            <a:r>
              <a:rPr lang="nl-BE" dirty="0" err="1" smtClean="0"/>
              <a:t>leviers</a:t>
            </a:r>
            <a:r>
              <a:rPr lang="nl-BE" dirty="0" smtClean="0"/>
              <a:t> et les </a:t>
            </a:r>
            <a:r>
              <a:rPr lang="nl-BE" dirty="0" err="1" smtClean="0"/>
              <a:t>ambitions</a:t>
            </a:r>
            <a:r>
              <a:rPr lang="nl-BE" dirty="0" smtClean="0"/>
              <a:t> (</a:t>
            </a:r>
            <a:r>
              <a:rPr lang="nl-BE" dirty="0" err="1" smtClean="0"/>
              <a:t>plusieurs</a:t>
            </a:r>
            <a:r>
              <a:rPr lang="nl-BE" dirty="0" smtClean="0"/>
              <a:t> </a:t>
            </a:r>
            <a:r>
              <a:rPr lang="nl-BE" dirty="0" err="1" smtClean="0"/>
              <a:t>scénarios</a:t>
            </a:r>
            <a:r>
              <a:rPr lang="nl-BE" dirty="0" smtClean="0"/>
              <a:t> </a:t>
            </a:r>
            <a:r>
              <a:rPr lang="nl-BE" dirty="0" err="1" smtClean="0"/>
              <a:t>sont</a:t>
            </a:r>
            <a:r>
              <a:rPr lang="nl-BE" dirty="0" smtClean="0"/>
              <a:t> </a:t>
            </a:r>
            <a:r>
              <a:rPr lang="nl-BE" dirty="0" err="1" smtClean="0"/>
              <a:t>possibles</a:t>
            </a:r>
            <a:r>
              <a:rPr lang="nl-BE" dirty="0" smtClean="0"/>
              <a:t>)</a:t>
            </a:r>
            <a:endParaRPr lang="nl-BE" dirty="0"/>
          </a:p>
          <a:p>
            <a:pPr marL="285750" indent="-285750">
              <a:buFont typeface="Arial" pitchFamily="34" charset="0"/>
              <a:buChar char="•"/>
            </a:pPr>
            <a:r>
              <a:rPr lang="nl-BE" dirty="0" err="1" smtClean="0"/>
              <a:t>Lancement</a:t>
            </a:r>
            <a:r>
              <a:rPr lang="nl-BE" dirty="0" smtClean="0"/>
              <a:t>: </a:t>
            </a:r>
            <a:r>
              <a:rPr lang="nl-BE" dirty="0" err="1" smtClean="0"/>
              <a:t>octobre</a:t>
            </a:r>
            <a:r>
              <a:rPr lang="nl-BE" dirty="0" smtClean="0"/>
              <a:t> 2015</a:t>
            </a:r>
            <a:endParaRPr lang="nl-BE" dirty="0"/>
          </a:p>
        </p:txBody>
      </p:sp>
      <p:pic>
        <p:nvPicPr>
          <p:cNvPr id="6" name="Picture 4" descr="G:\DG5_KYOTO\Communication\2050\look &amp; feel\2050_Logo-Export\Tagline\EN\2050 Logo tagline EN low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109317"/>
            <a:ext cx="1921793" cy="1031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1052736"/>
            <a:ext cx="4414568" cy="287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8258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755576" y="2507412"/>
            <a:ext cx="74168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i="1" dirty="0"/>
              <a:t>“Ce n'est pas parce que les choses sont difficiles que nous n'osons pas, c'est parce que nous n'osons pas qu'elles sont difficiles”</a:t>
            </a:r>
          </a:p>
          <a:p>
            <a:pPr algn="r"/>
            <a:r>
              <a:rPr lang="fr-BE" sz="2400" i="1" dirty="0"/>
              <a:t>Sénèque</a:t>
            </a:r>
          </a:p>
        </p:txBody>
      </p:sp>
    </p:spTree>
    <p:extLst>
      <p:ext uri="{BB962C8B-B14F-4D97-AF65-F5344CB8AC3E}">
        <p14:creationId xmlns:p14="http://schemas.microsoft.com/office/powerpoint/2010/main" val="317503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smtClean="0"/>
              <a:t>Merci</a:t>
            </a:r>
            <a:endParaRPr lang="nl-BE" dirty="0"/>
          </a:p>
        </p:txBody>
      </p:sp>
      <p:sp>
        <p:nvSpPr>
          <p:cNvPr id="5" name="TextBox 4"/>
          <p:cNvSpPr txBox="1"/>
          <p:nvPr/>
        </p:nvSpPr>
        <p:spPr>
          <a:xfrm>
            <a:off x="395536" y="5157192"/>
            <a:ext cx="621452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tienne.hannon@environment.belgium.be</a:t>
            </a:r>
          </a:p>
          <a:p>
            <a:r>
              <a:rPr lang="nl-BE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climat.be</a:t>
            </a:r>
          </a:p>
          <a:p>
            <a:r>
              <a:rPr lang="nl-BE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climat.be/2050</a:t>
            </a:r>
          </a:p>
          <a:p>
            <a:r>
              <a:rPr lang="nl-BE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energivores.be  -  www.energievreters.be</a:t>
            </a:r>
          </a:p>
        </p:txBody>
      </p:sp>
    </p:spTree>
    <p:extLst>
      <p:ext uri="{BB962C8B-B14F-4D97-AF65-F5344CB8AC3E}">
        <p14:creationId xmlns:p14="http://schemas.microsoft.com/office/powerpoint/2010/main" val="418922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60" y="5773923"/>
            <a:ext cx="1434621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57" y="5085183"/>
            <a:ext cx="1782543" cy="108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48" y="4452556"/>
            <a:ext cx="2436969" cy="988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12" descr="tempete-ile-de-sei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228" y="3933056"/>
            <a:ext cx="1539762" cy="940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819" y="3313642"/>
            <a:ext cx="1944341" cy="108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1988840"/>
            <a:ext cx="1169988" cy="1750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301" y="1576725"/>
            <a:ext cx="2315364" cy="1283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1196752"/>
            <a:ext cx="1724882" cy="1151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980" y="815876"/>
            <a:ext cx="2313769" cy="1032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28098"/>
            <a:ext cx="2248748" cy="1375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160659" y="116632"/>
            <a:ext cx="2395117" cy="504056"/>
          </a:xfrm>
        </p:spPr>
        <p:txBody>
          <a:bodyPr/>
          <a:lstStyle/>
          <a:p>
            <a:r>
              <a:rPr lang="fr-BE" dirty="0" smtClean="0"/>
              <a:t>Impacts of CC</a:t>
            </a:r>
            <a:endParaRPr lang="fr-BE" dirty="0"/>
          </a:p>
        </p:txBody>
      </p:sp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2292" y="1653005"/>
            <a:ext cx="5244034" cy="3684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200" y="1770753"/>
            <a:ext cx="5668219" cy="3449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567" y="2308325"/>
            <a:ext cx="5855484" cy="2374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12" descr="tempete-ile-de-sei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5610" y="1679074"/>
            <a:ext cx="5732780" cy="3499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523" y="1771563"/>
            <a:ext cx="6153573" cy="3447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5199" y="1058469"/>
            <a:ext cx="3258220" cy="48740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111" y="2082332"/>
            <a:ext cx="5098396" cy="2826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090" y="1892346"/>
            <a:ext cx="4804439" cy="3206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673" y="2008921"/>
            <a:ext cx="6665273" cy="2973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572" y="1485012"/>
            <a:ext cx="6573475" cy="4020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8061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00"/>
                            </p:stCondLst>
                            <p:childTnLst>
                              <p:par>
                                <p:cTn id="8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00"/>
                            </p:stCondLst>
                            <p:childTnLst>
                              <p:par>
                                <p:cTn id="9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 smtClean="0"/>
              <a:t>Risk</a:t>
            </a:r>
            <a:r>
              <a:rPr lang="fr-BE" dirty="0" smtClean="0"/>
              <a:t> </a:t>
            </a:r>
            <a:r>
              <a:rPr lang="fr-BE" dirty="0" err="1" smtClean="0"/>
              <a:t>assessment</a:t>
            </a:r>
            <a:r>
              <a:rPr lang="fr-BE" dirty="0" smtClean="0"/>
              <a:t> </a:t>
            </a:r>
            <a:r>
              <a:rPr lang="fr-BE" dirty="0" smtClean="0">
                <a:sym typeface="Wingdings" pitchFamily="2" charset="2"/>
              </a:rPr>
              <a:t> </a:t>
            </a:r>
            <a:r>
              <a:rPr lang="fr-BE" dirty="0" smtClean="0"/>
              <a:t>2 </a:t>
            </a:r>
            <a:r>
              <a:rPr lang="fr-BE" dirty="0" err="1" smtClean="0"/>
              <a:t>degree</a:t>
            </a:r>
            <a:r>
              <a:rPr lang="fr-BE" dirty="0" smtClean="0"/>
              <a:t> </a:t>
            </a:r>
            <a:r>
              <a:rPr lang="fr-BE" dirty="0" err="1" smtClean="0"/>
              <a:t>target</a:t>
            </a:r>
            <a:endParaRPr lang="fr-B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426" y="1002387"/>
            <a:ext cx="6120680" cy="5522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6739122" y="6093296"/>
            <a:ext cx="13612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100" dirty="0" smtClean="0"/>
              <a:t>Source: IPCC AR5</a:t>
            </a:r>
            <a:endParaRPr lang="fr-BE" sz="1100" dirty="0"/>
          </a:p>
        </p:txBody>
      </p:sp>
      <p:grpSp>
        <p:nvGrpSpPr>
          <p:cNvPr id="4" name="Groupe 3"/>
          <p:cNvGrpSpPr/>
          <p:nvPr/>
        </p:nvGrpSpPr>
        <p:grpSpPr>
          <a:xfrm>
            <a:off x="6520481" y="3861048"/>
            <a:ext cx="1651919" cy="338554"/>
            <a:chOff x="6520481" y="3861048"/>
            <a:chExt cx="1651919" cy="338554"/>
          </a:xfrm>
        </p:grpSpPr>
        <p:sp>
          <p:nvSpPr>
            <p:cNvPr id="7" name="ZoneTexte 6"/>
            <p:cNvSpPr txBox="1"/>
            <p:nvPr/>
          </p:nvSpPr>
          <p:spPr>
            <a:xfrm>
              <a:off x="6842228" y="3861048"/>
              <a:ext cx="133017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BE" sz="1600" b="1" dirty="0" err="1" smtClean="0">
                  <a:solidFill>
                    <a:srgbClr val="002060"/>
                  </a:solidFill>
                  <a:latin typeface="Calibri"/>
                </a:rPr>
                <a:t>Today</a:t>
              </a:r>
              <a:r>
                <a:rPr lang="fr-BE" sz="1600" b="1" dirty="0" smtClean="0">
                  <a:solidFill>
                    <a:srgbClr val="002060"/>
                  </a:solidFill>
                  <a:latin typeface="Calibri"/>
                </a:rPr>
                <a:t>: +0,8°C</a:t>
              </a:r>
              <a:endParaRPr lang="fr-BE" sz="1600" b="1" dirty="0">
                <a:solidFill>
                  <a:srgbClr val="002060"/>
                </a:solidFill>
                <a:latin typeface="Calibri"/>
              </a:endParaRPr>
            </a:p>
          </p:txBody>
        </p:sp>
        <p:cxnSp>
          <p:nvCxnSpPr>
            <p:cNvPr id="10" name="Connecteur droit avec flèche 9"/>
            <p:cNvCxnSpPr/>
            <p:nvPr/>
          </p:nvCxnSpPr>
          <p:spPr>
            <a:xfrm flipH="1">
              <a:off x="6520481" y="4047049"/>
              <a:ext cx="326012" cy="0"/>
            </a:xfrm>
            <a:prstGeom prst="straightConnector1">
              <a:avLst/>
            </a:prstGeom>
            <a:ln>
              <a:solidFill>
                <a:srgbClr val="333399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" name="Groupe 1"/>
          <p:cNvGrpSpPr/>
          <p:nvPr/>
        </p:nvGrpSpPr>
        <p:grpSpPr>
          <a:xfrm>
            <a:off x="1482536" y="3234462"/>
            <a:ext cx="7625968" cy="338554"/>
            <a:chOff x="1482536" y="3234462"/>
            <a:chExt cx="7625968" cy="338554"/>
          </a:xfrm>
        </p:grpSpPr>
        <p:cxnSp>
          <p:nvCxnSpPr>
            <p:cNvPr id="6" name="Connecteur droit 5"/>
            <p:cNvCxnSpPr/>
            <p:nvPr/>
          </p:nvCxnSpPr>
          <p:spPr>
            <a:xfrm flipH="1">
              <a:off x="1482536" y="3414711"/>
              <a:ext cx="4104456" cy="0"/>
            </a:xfrm>
            <a:prstGeom prst="line">
              <a:avLst/>
            </a:prstGeom>
            <a:noFill/>
            <a:ln w="25400" cap="flat" cmpd="sng" algn="ctr">
              <a:solidFill>
                <a:srgbClr val="002060"/>
              </a:solidFill>
              <a:prstDash val="dash"/>
            </a:ln>
            <a:effectLst/>
          </p:spPr>
        </p:cxnSp>
        <p:sp>
          <p:nvSpPr>
            <p:cNvPr id="11" name="ZoneTexte 10"/>
            <p:cNvSpPr txBox="1"/>
            <p:nvPr/>
          </p:nvSpPr>
          <p:spPr>
            <a:xfrm>
              <a:off x="6235538" y="3234462"/>
              <a:ext cx="287296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BE" sz="1600" b="1" dirty="0" smtClean="0">
                  <a:solidFill>
                    <a:srgbClr val="002060"/>
                  </a:solidFill>
                  <a:latin typeface="Calibri"/>
                </a:rPr>
                <a:t>Long </a:t>
              </a:r>
              <a:r>
                <a:rPr lang="fr-BE" sz="1600" b="1" dirty="0" err="1" smtClean="0">
                  <a:solidFill>
                    <a:srgbClr val="002060"/>
                  </a:solidFill>
                  <a:latin typeface="Calibri"/>
                </a:rPr>
                <a:t>term</a:t>
              </a:r>
              <a:r>
                <a:rPr lang="fr-BE" sz="1600" b="1" dirty="0" smtClean="0">
                  <a:solidFill>
                    <a:srgbClr val="002060"/>
                  </a:solidFill>
                  <a:latin typeface="Calibri"/>
                </a:rPr>
                <a:t> objective: max. +2°C</a:t>
              </a:r>
              <a:endParaRPr lang="fr-BE" sz="1600" b="1" dirty="0">
                <a:solidFill>
                  <a:srgbClr val="002060"/>
                </a:solidFill>
                <a:latin typeface="Calibri"/>
              </a:endParaRPr>
            </a:p>
          </p:txBody>
        </p:sp>
        <p:cxnSp>
          <p:nvCxnSpPr>
            <p:cNvPr id="12" name="Connecteur droit avec flèche 11"/>
            <p:cNvCxnSpPr/>
            <p:nvPr/>
          </p:nvCxnSpPr>
          <p:spPr>
            <a:xfrm flipH="1">
              <a:off x="5913791" y="3420463"/>
              <a:ext cx="326012" cy="0"/>
            </a:xfrm>
            <a:prstGeom prst="straightConnector1">
              <a:avLst/>
            </a:prstGeom>
            <a:ln>
              <a:solidFill>
                <a:srgbClr val="333399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09134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6D3EEF-DE4E-429D-8EC4-DDC531AFF58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302037"/>
            <a:ext cx="6556583" cy="6223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re 1"/>
          <p:cNvSpPr txBox="1">
            <a:spLocks/>
          </p:cNvSpPr>
          <p:nvPr/>
        </p:nvSpPr>
        <p:spPr>
          <a:xfrm>
            <a:off x="241176" y="1070248"/>
            <a:ext cx="2530624" cy="1998712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sz="2800" b="1" cap="none" spc="0" baseline="0">
                <a:solidFill>
                  <a:srgbClr val="475A8D"/>
                </a:solidFill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fr-BE" kern="0" dirty="0" err="1" smtClean="0"/>
              <a:t>From</a:t>
            </a:r>
            <a:r>
              <a:rPr lang="fr-BE" kern="0" dirty="0" smtClean="0"/>
              <a:t> </a:t>
            </a:r>
            <a:r>
              <a:rPr lang="fr-BE" kern="0" dirty="0" err="1" smtClean="0"/>
              <a:t>risks</a:t>
            </a:r>
            <a:r>
              <a:rPr lang="fr-BE" kern="0" dirty="0" smtClean="0"/>
              <a:t> to </a:t>
            </a:r>
            <a:r>
              <a:rPr lang="fr-BE" kern="0" dirty="0" err="1" smtClean="0"/>
              <a:t>carbon</a:t>
            </a:r>
            <a:r>
              <a:rPr lang="fr-BE" kern="0" dirty="0" smtClean="0"/>
              <a:t> budget and </a:t>
            </a:r>
            <a:r>
              <a:rPr lang="fr-BE" kern="0" dirty="0" err="1" smtClean="0"/>
              <a:t>emissions</a:t>
            </a:r>
            <a:endParaRPr lang="fr-BE" kern="0" dirty="0"/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4860032" y="2617456"/>
            <a:ext cx="864096" cy="0"/>
          </a:xfrm>
          <a:prstGeom prst="straightConnector1">
            <a:avLst/>
          </a:prstGeom>
          <a:ln w="22225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avec flèche 7"/>
          <p:cNvCxnSpPr/>
          <p:nvPr/>
        </p:nvCxnSpPr>
        <p:spPr>
          <a:xfrm>
            <a:off x="5724128" y="2617456"/>
            <a:ext cx="0" cy="2693480"/>
          </a:xfrm>
          <a:prstGeom prst="straightConnector1">
            <a:avLst/>
          </a:prstGeom>
          <a:ln w="22225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 flipH="1">
            <a:off x="4644008" y="5310936"/>
            <a:ext cx="1080120" cy="0"/>
          </a:xfrm>
          <a:prstGeom prst="straightConnector1">
            <a:avLst/>
          </a:prstGeom>
          <a:ln w="22225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6300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607" y="260648"/>
            <a:ext cx="5615529" cy="399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4509120"/>
            <a:ext cx="4461717" cy="1979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5921424" y="548680"/>
            <a:ext cx="2899048" cy="1224135"/>
          </a:xfrm>
        </p:spPr>
        <p:txBody>
          <a:bodyPr/>
          <a:lstStyle/>
          <a:p>
            <a:r>
              <a:rPr lang="fr-BE" sz="2400" dirty="0" err="1" smtClean="0"/>
              <a:t>Carbon</a:t>
            </a:r>
            <a:r>
              <a:rPr lang="fr-BE" sz="2400" dirty="0" smtClean="0"/>
              <a:t> budget compatible </a:t>
            </a:r>
            <a:r>
              <a:rPr lang="fr-BE" sz="2400" dirty="0" err="1" smtClean="0"/>
              <a:t>with</a:t>
            </a:r>
            <a:r>
              <a:rPr lang="fr-BE" sz="2400" dirty="0" smtClean="0"/>
              <a:t> 2°C (</a:t>
            </a:r>
            <a:r>
              <a:rPr lang="fr-BE" sz="2400" dirty="0" err="1" smtClean="0"/>
              <a:t>probability</a:t>
            </a:r>
            <a:r>
              <a:rPr lang="fr-BE" sz="2400" dirty="0" smtClean="0"/>
              <a:t> &gt; 66%):</a:t>
            </a:r>
            <a:endParaRPr lang="fr-BE" sz="2400" dirty="0"/>
          </a:p>
        </p:txBody>
      </p:sp>
      <p:cxnSp>
        <p:nvCxnSpPr>
          <p:cNvPr id="4" name="Connecteur droit avec flèche 3"/>
          <p:cNvCxnSpPr/>
          <p:nvPr/>
        </p:nvCxnSpPr>
        <p:spPr>
          <a:xfrm>
            <a:off x="2195736" y="2387792"/>
            <a:ext cx="0" cy="1473256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avec flèche 8"/>
          <p:cNvCxnSpPr/>
          <p:nvPr/>
        </p:nvCxnSpPr>
        <p:spPr>
          <a:xfrm>
            <a:off x="539552" y="2387792"/>
            <a:ext cx="1656184" cy="0"/>
          </a:xfrm>
          <a:prstGeom prst="straightConnector1">
            <a:avLst/>
          </a:prstGeom>
          <a:ln w="2540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/>
          <p:cNvSpPr txBox="1"/>
          <p:nvPr/>
        </p:nvSpPr>
        <p:spPr>
          <a:xfrm>
            <a:off x="5940152" y="2100332"/>
            <a:ext cx="2664296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2400"/>
              </a:spcAft>
              <a:buFont typeface="Arial" pitchFamily="34" charset="0"/>
              <a:buChar char="•"/>
            </a:pPr>
            <a:r>
              <a:rPr lang="fr-BE" dirty="0" smtClean="0">
                <a:solidFill>
                  <a:srgbClr val="FF0000"/>
                </a:solidFill>
              </a:rPr>
              <a:t>Max. </a:t>
            </a:r>
            <a:r>
              <a:rPr lang="fr-BE" dirty="0" err="1" smtClean="0">
                <a:solidFill>
                  <a:srgbClr val="FF0000"/>
                </a:solidFill>
              </a:rPr>
              <a:t>cumulated</a:t>
            </a:r>
            <a:r>
              <a:rPr lang="fr-BE" dirty="0" smtClean="0">
                <a:solidFill>
                  <a:srgbClr val="FF0000"/>
                </a:solidFill>
              </a:rPr>
              <a:t> GHG </a:t>
            </a:r>
            <a:r>
              <a:rPr lang="fr-BE" dirty="0" err="1" smtClean="0">
                <a:solidFill>
                  <a:srgbClr val="FF0000"/>
                </a:solidFill>
              </a:rPr>
              <a:t>emissions</a:t>
            </a:r>
            <a:r>
              <a:rPr lang="fr-BE" dirty="0">
                <a:solidFill>
                  <a:srgbClr val="FF0000"/>
                </a:solidFill>
              </a:rPr>
              <a:t> </a:t>
            </a:r>
            <a:r>
              <a:rPr lang="fr-BE" dirty="0" smtClean="0">
                <a:solidFill>
                  <a:srgbClr val="FF0000"/>
                </a:solidFill>
              </a:rPr>
              <a:t>= 790 </a:t>
            </a:r>
            <a:r>
              <a:rPr lang="fr-BE" dirty="0" err="1" smtClean="0">
                <a:solidFill>
                  <a:srgbClr val="FF0000"/>
                </a:solidFill>
              </a:rPr>
              <a:t>GtC</a:t>
            </a:r>
            <a:endParaRPr lang="fr-BE" dirty="0" smtClean="0">
              <a:solidFill>
                <a:srgbClr val="FF0000"/>
              </a:solidFill>
            </a:endParaRPr>
          </a:p>
          <a:p>
            <a:pPr marL="285750" indent="-285750">
              <a:spcAft>
                <a:spcPts val="2400"/>
              </a:spcAft>
              <a:buFont typeface="Arial" pitchFamily="34" charset="0"/>
              <a:buChar char="•"/>
            </a:pPr>
            <a:r>
              <a:rPr lang="fr-BE" dirty="0" err="1" smtClean="0">
                <a:solidFill>
                  <a:srgbClr val="FF0000"/>
                </a:solidFill>
              </a:rPr>
              <a:t>Already</a:t>
            </a:r>
            <a:r>
              <a:rPr lang="fr-BE" dirty="0" smtClean="0">
                <a:solidFill>
                  <a:srgbClr val="FF0000"/>
                </a:solidFill>
              </a:rPr>
              <a:t> </a:t>
            </a:r>
            <a:r>
              <a:rPr lang="fr-BE" dirty="0" err="1" smtClean="0">
                <a:solidFill>
                  <a:srgbClr val="FF0000"/>
                </a:solidFill>
              </a:rPr>
              <a:t>emitted</a:t>
            </a:r>
            <a:r>
              <a:rPr lang="fr-BE" dirty="0" smtClean="0">
                <a:solidFill>
                  <a:srgbClr val="FF0000"/>
                </a:solidFill>
              </a:rPr>
              <a:t> </a:t>
            </a:r>
            <a:r>
              <a:rPr lang="fr-BE" dirty="0" err="1" smtClean="0">
                <a:solidFill>
                  <a:srgbClr val="FF0000"/>
                </a:solidFill>
              </a:rPr>
              <a:t>today</a:t>
            </a:r>
            <a:r>
              <a:rPr lang="fr-BE" dirty="0" smtClean="0">
                <a:solidFill>
                  <a:srgbClr val="FF0000"/>
                </a:solidFill>
              </a:rPr>
              <a:t>: 550 </a:t>
            </a:r>
            <a:r>
              <a:rPr lang="fr-BE" dirty="0" err="1" smtClean="0">
                <a:solidFill>
                  <a:srgbClr val="FF0000"/>
                </a:solidFill>
              </a:rPr>
              <a:t>GtC</a:t>
            </a:r>
            <a:r>
              <a:rPr lang="fr-BE" dirty="0" smtClean="0">
                <a:solidFill>
                  <a:srgbClr val="FF0000"/>
                </a:solidFill>
              </a:rPr>
              <a:t> (&gt; 2/3 of the total C budget)</a:t>
            </a:r>
          </a:p>
          <a:p>
            <a:pPr marL="285750" indent="-285750">
              <a:spcAft>
                <a:spcPts val="2400"/>
              </a:spcAft>
              <a:buFont typeface="Arial" pitchFamily="34" charset="0"/>
              <a:buChar char="•"/>
            </a:pPr>
            <a:r>
              <a:rPr lang="fr-BE" dirty="0" smtClean="0">
                <a:solidFill>
                  <a:srgbClr val="FF0000"/>
                </a:solidFill>
              </a:rPr>
              <a:t>C budget </a:t>
            </a:r>
            <a:r>
              <a:rPr lang="fr-BE" dirty="0" err="1" smtClean="0">
                <a:solidFill>
                  <a:srgbClr val="FF0000"/>
                </a:solidFill>
              </a:rPr>
              <a:t>available</a:t>
            </a:r>
            <a:r>
              <a:rPr lang="fr-BE" dirty="0" smtClean="0">
                <a:solidFill>
                  <a:srgbClr val="FF0000"/>
                </a:solidFill>
              </a:rPr>
              <a:t> for the future = 240 </a:t>
            </a:r>
            <a:r>
              <a:rPr lang="fr-BE" dirty="0" err="1" smtClean="0">
                <a:solidFill>
                  <a:srgbClr val="FF0000"/>
                </a:solidFill>
              </a:rPr>
              <a:t>GtC</a:t>
            </a:r>
            <a:r>
              <a:rPr lang="fr-BE" dirty="0" smtClean="0">
                <a:solidFill>
                  <a:srgbClr val="FF0000"/>
                </a:solidFill>
              </a:rPr>
              <a:t> (=25 </a:t>
            </a:r>
            <a:r>
              <a:rPr lang="fr-BE" dirty="0" err="1" smtClean="0">
                <a:solidFill>
                  <a:srgbClr val="FF0000"/>
                </a:solidFill>
              </a:rPr>
              <a:t>yrs</a:t>
            </a:r>
            <a:r>
              <a:rPr lang="fr-BE" dirty="0" smtClean="0">
                <a:solidFill>
                  <a:srgbClr val="FF0000"/>
                </a:solidFill>
              </a:rPr>
              <a:t> of </a:t>
            </a:r>
            <a:r>
              <a:rPr lang="fr-BE" dirty="0" err="1" smtClean="0">
                <a:solidFill>
                  <a:srgbClr val="FF0000"/>
                </a:solidFill>
              </a:rPr>
              <a:t>emissions</a:t>
            </a:r>
            <a:r>
              <a:rPr lang="fr-BE" dirty="0" smtClean="0">
                <a:solidFill>
                  <a:srgbClr val="FF0000"/>
                </a:solidFill>
              </a:rPr>
              <a:t> </a:t>
            </a:r>
            <a:r>
              <a:rPr lang="fr-BE" dirty="0" err="1" smtClean="0">
                <a:solidFill>
                  <a:srgbClr val="FF0000"/>
                </a:solidFill>
              </a:rPr>
              <a:t>at</a:t>
            </a:r>
            <a:r>
              <a:rPr lang="fr-BE" dirty="0" smtClean="0">
                <a:solidFill>
                  <a:srgbClr val="FF0000"/>
                </a:solidFill>
              </a:rPr>
              <a:t> </a:t>
            </a:r>
            <a:r>
              <a:rPr lang="fr-BE" dirty="0" err="1" smtClean="0">
                <a:solidFill>
                  <a:srgbClr val="FF0000"/>
                </a:solidFill>
              </a:rPr>
              <a:t>current</a:t>
            </a:r>
            <a:r>
              <a:rPr lang="fr-BE" dirty="0" smtClean="0">
                <a:solidFill>
                  <a:srgbClr val="FF0000"/>
                </a:solidFill>
              </a:rPr>
              <a:t> rate)</a:t>
            </a:r>
          </a:p>
        </p:txBody>
      </p:sp>
    </p:spTree>
    <p:extLst>
      <p:ext uri="{BB962C8B-B14F-4D97-AF65-F5344CB8AC3E}">
        <p14:creationId xmlns:p14="http://schemas.microsoft.com/office/powerpoint/2010/main" val="3898139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dirty="0" err="1" smtClean="0"/>
              <a:t>Current</a:t>
            </a:r>
            <a:r>
              <a:rPr lang="fr-BE" dirty="0" smtClean="0"/>
              <a:t> trends of global CO</a:t>
            </a:r>
            <a:r>
              <a:rPr lang="fr-BE" baseline="-25000" dirty="0" smtClean="0"/>
              <a:t>2</a:t>
            </a:r>
            <a:r>
              <a:rPr lang="fr-BE" dirty="0" smtClean="0"/>
              <a:t> </a:t>
            </a:r>
            <a:r>
              <a:rPr lang="fr-BE" dirty="0" err="1" smtClean="0"/>
              <a:t>emissions</a:t>
            </a:r>
            <a:endParaRPr lang="fr-BE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844824"/>
            <a:ext cx="4536504" cy="3250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ZoneTexte 12"/>
          <p:cNvSpPr txBox="1"/>
          <p:nvPr/>
        </p:nvSpPr>
        <p:spPr>
          <a:xfrm>
            <a:off x="611561" y="5445224"/>
            <a:ext cx="52565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solidFill>
                  <a:srgbClr val="FF0000"/>
                </a:solidFill>
                <a:latin typeface="Arial"/>
              </a:rPr>
              <a:t>Current trends of global CO</a:t>
            </a:r>
            <a:r>
              <a:rPr lang="en-US" sz="1600" i="1" baseline="-25000" dirty="0">
                <a:solidFill>
                  <a:srgbClr val="FF0000"/>
                </a:solidFill>
                <a:latin typeface="Arial"/>
              </a:rPr>
              <a:t>2</a:t>
            </a:r>
            <a:r>
              <a:rPr lang="en-US" sz="1600" i="1" dirty="0">
                <a:solidFill>
                  <a:srgbClr val="FF0000"/>
                </a:solidFill>
                <a:latin typeface="Arial"/>
              </a:rPr>
              <a:t> </a:t>
            </a:r>
            <a:r>
              <a:rPr lang="en-US" sz="1600" i="1" dirty="0" smtClean="0">
                <a:solidFill>
                  <a:srgbClr val="FF0000"/>
                </a:solidFill>
                <a:latin typeface="Arial"/>
              </a:rPr>
              <a:t>emissions is on a trajectory that drives us to +3,2 – 5,4°C by 2100 !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99331"/>
            <a:ext cx="3888432" cy="3226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ZoneTexte 14"/>
          <p:cNvSpPr txBox="1"/>
          <p:nvPr/>
        </p:nvSpPr>
        <p:spPr>
          <a:xfrm>
            <a:off x="5940152" y="6145142"/>
            <a:ext cx="27510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1200" dirty="0" smtClean="0">
                <a:solidFill>
                  <a:srgbClr val="292934"/>
                </a:solidFill>
                <a:latin typeface="Arial"/>
              </a:rPr>
              <a:t>Source: Global </a:t>
            </a:r>
            <a:r>
              <a:rPr lang="fr-BE" sz="1200" dirty="0" err="1" smtClean="0">
                <a:solidFill>
                  <a:srgbClr val="292934"/>
                </a:solidFill>
                <a:latin typeface="Arial"/>
              </a:rPr>
              <a:t>Carbon</a:t>
            </a:r>
            <a:r>
              <a:rPr lang="fr-BE" sz="1200" dirty="0" smtClean="0">
                <a:solidFill>
                  <a:srgbClr val="292934"/>
                </a:solidFill>
                <a:latin typeface="Arial"/>
              </a:rPr>
              <a:t> Project (2013)</a:t>
            </a:r>
            <a:endParaRPr lang="fr-BE" sz="1200" dirty="0">
              <a:solidFill>
                <a:srgbClr val="29293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1061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85"/>
          <a:stretch/>
        </p:blipFill>
        <p:spPr bwMode="auto">
          <a:xfrm>
            <a:off x="755577" y="530549"/>
            <a:ext cx="7531383" cy="5847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516216" y="6453337"/>
            <a:ext cx="34563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000" dirty="0" smtClean="0">
                <a:solidFill>
                  <a:srgbClr val="2F2B20"/>
                </a:solidFill>
              </a:rPr>
              <a:t>Source : UNEP gap report 2013</a:t>
            </a:r>
            <a:endParaRPr lang="en-GB" sz="1000" dirty="0">
              <a:solidFill>
                <a:srgbClr val="2F2B20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4" r="7519" b="1805"/>
          <a:stretch/>
        </p:blipFill>
        <p:spPr bwMode="auto">
          <a:xfrm>
            <a:off x="2215730" y="80852"/>
            <a:ext cx="5812655" cy="6685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179512" y="476673"/>
            <a:ext cx="4454435" cy="1496675"/>
            <a:chOff x="621621" y="2680663"/>
            <a:chExt cx="4454435" cy="1496675"/>
          </a:xfrm>
        </p:grpSpPr>
        <p:pic>
          <p:nvPicPr>
            <p:cNvPr id="11" name="Picture 10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824"/>
            <a:stretch/>
          </p:blipFill>
          <p:spPr bwMode="auto">
            <a:xfrm>
              <a:off x="621621" y="2680663"/>
              <a:ext cx="2858179" cy="1496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11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9577"/>
            <a:stretch/>
          </p:blipFill>
          <p:spPr bwMode="auto">
            <a:xfrm>
              <a:off x="3462476" y="2680663"/>
              <a:ext cx="1613580" cy="1496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42788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3576 -0.28287 L 5.55556E-7 4.44444E-6 " pathEditMode="relative" rAng="0" ptsTypes="AA">
                                      <p:cBhvr>
                                        <p:cTn id="11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788" y="14144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4177429389"/>
              </p:ext>
            </p:extLst>
          </p:nvPr>
        </p:nvGraphicFramePr>
        <p:xfrm>
          <a:off x="-252536" y="332656"/>
          <a:ext cx="8640960" cy="59766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2012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itchbook">
  <a:themeElements>
    <a:clrScheme name="Adjacency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itchboo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Pitchboo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50</Words>
  <Application>Microsoft Office PowerPoint</Application>
  <PresentationFormat>Affichage à l'écran (4:3)</PresentationFormat>
  <Paragraphs>216</Paragraphs>
  <Slides>2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26" baseType="lpstr">
      <vt:lpstr>1_Pitchbook</vt:lpstr>
      <vt:lpstr>2_Pitchbook</vt:lpstr>
      <vt:lpstr>3_Pitchbook</vt:lpstr>
      <vt:lpstr>think-cell Slide</vt:lpstr>
      <vt:lpstr>Crise climatique &amp; enjeux de la COP.21</vt:lpstr>
      <vt:lpstr>Présentation PowerPoint</vt:lpstr>
      <vt:lpstr>Présentation PowerPoint</vt:lpstr>
      <vt:lpstr>Risk assessment  2 degree targe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Key challenges (1) : mitigation</vt:lpstr>
      <vt:lpstr>Présentation PowerPoint</vt:lpstr>
      <vt:lpstr>Présentation PowerPoint</vt:lpstr>
      <vt:lpstr>Présentation PowerPoint</vt:lpstr>
      <vt:lpstr>Présentation PowerPoint</vt:lpstr>
      <vt:lpstr>Merci</vt:lpstr>
    </vt:vector>
  </TitlesOfParts>
  <Company>health.fgov.b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ITIQUE CLIMATIQUE</dc:title>
  <dc:creator>Wittoeck Peter</dc:creator>
  <cp:lastModifiedBy>PAES Marylou</cp:lastModifiedBy>
  <cp:revision>77</cp:revision>
  <dcterms:created xsi:type="dcterms:W3CDTF">2015-06-27T20:54:12Z</dcterms:created>
  <dcterms:modified xsi:type="dcterms:W3CDTF">2015-09-03T07:54:55Z</dcterms:modified>
</cp:coreProperties>
</file>